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85" r:id="rId3"/>
    <p:sldMasterId id="2147483725" r:id="rId4"/>
    <p:sldMasterId id="2147483742" r:id="rId5"/>
    <p:sldMasterId id="2147483746" r:id="rId6"/>
  </p:sldMasterIdLst>
  <p:notesMasterIdLst>
    <p:notesMasterId r:id="rId8"/>
  </p:notesMasterIdLst>
  <p:sldIdLst>
    <p:sldId id="366" r:id="rId7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FF"/>
    <a:srgbClr val="006666"/>
    <a:srgbClr val="008D8A"/>
    <a:srgbClr val="00B4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55" autoAdjust="0"/>
    <p:restoredTop sz="94660"/>
  </p:normalViewPr>
  <p:slideViewPr>
    <p:cSldViewPr snapToGrid="0">
      <p:cViewPr varScale="1">
        <p:scale>
          <a:sx n="73" d="100"/>
          <a:sy n="73" d="100"/>
        </p:scale>
        <p:origin x="738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4A4B18-8274-45A9-A3A3-D68569328F85}" type="datetimeFigureOut">
              <a:rPr lang="it-IT" smtClean="0"/>
              <a:t>30/04/2020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0E0175-F9EE-409A-A77F-5DE940CBF86C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08651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4162" y="2027528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t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 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5340914"/>
            <a:ext cx="1553547" cy="322467"/>
          </a:xfrm>
          <a:prstGeom prst="rect">
            <a:avLst/>
          </a:prstGeom>
        </p:spPr>
        <p:txBody>
          <a:bodyPr lIns="0" rIns="0"/>
          <a:lstStyle>
            <a:lvl1pPr algn="l"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00 Mese 0000</a:t>
            </a:r>
          </a:p>
        </p:txBody>
      </p:sp>
      <p:pic>
        <p:nvPicPr>
          <p:cNvPr id="28" name="Immagin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084000"/>
            <a:ext cx="1686624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856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2705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34094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322410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32164594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2812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94264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00897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8661212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14815683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0120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9112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407988" y="1789113"/>
            <a:ext cx="5430838" cy="2511691"/>
          </a:xfrm>
          <a:prstGeom prst="rect">
            <a:avLst/>
          </a:prstGeom>
        </p:spPr>
        <p:txBody>
          <a:bodyPr anchor="ctr" anchorCtr="0"/>
          <a:lstStyle>
            <a:lvl1pPr algn="r">
              <a:defRPr sz="54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Copertina sezione - alt 2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4350048"/>
            <a:ext cx="5430838" cy="585527"/>
          </a:xfrm>
          <a:prstGeom prst="rect">
            <a:avLst/>
          </a:prstGeom>
        </p:spPr>
        <p:txBody>
          <a:bodyPr anchor="ctr" anchorCtr="0"/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Sottotitolo</a:t>
            </a:r>
          </a:p>
        </p:txBody>
      </p:sp>
    </p:spTree>
    <p:extLst>
      <p:ext uri="{BB962C8B-B14F-4D97-AF65-F5344CB8AC3E}">
        <p14:creationId xmlns:p14="http://schemas.microsoft.com/office/powerpoint/2010/main" val="42373821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tazion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I   Nom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4" name="Immagine 4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14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tazion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I   Nom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Immagin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801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58F355C-E276-4985-9C45-658700A4DE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B9E7919D-B6C9-430B-B6D9-3BC4A9C00A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736E97D3-1F9B-4CF5-B815-F07CF0FA09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2F5E17-BEA6-48F1-90DD-AB049CC5B2E3}" type="datetimeFigureOut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/04/2020</a:t>
            </a:fld>
            <a:endParaRPr kumimoji="0" lang="it-IT" sz="800" b="0" i="0" u="none" strike="noStrike" kern="1200" cap="none" spc="0" normalizeH="0" baseline="0" noProof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E95DC2D-F2D5-4AE4-9588-A832966372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800" b="0" i="0" u="none" strike="noStrike" kern="1200" cap="none" spc="0" normalizeH="0" baseline="0" noProof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A4842C7-56CC-476C-8667-9F925C1442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33C853-638D-4D9B-8F13-4808F787607E}" type="slidenum">
              <a:rPr kumimoji="0" lang="it-IT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39601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3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09013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7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8906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1"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3809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5" name="Diapositiva think-cell" r:id="rId4" imgW="360" imgH="360" progId="TCLayout.ActiveDocument.1">
                  <p:embed/>
                </p:oleObj>
              </mc:Choice>
              <mc:Fallback>
                <p:oleObj name="Diapositiva think-cell" r:id="rId4" imgW="360" imgH="360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3629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88621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1052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4818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34162805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77593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45224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40591688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4788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70844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2025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5219622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83827017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40386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tazion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I   Nom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4" name="Immagine 4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289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55110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tazion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I   Nom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3" name="Immagine 3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461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589145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52521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457918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01775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10038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946211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40804775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02061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11202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309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18639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154373912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349198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2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25445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49995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tazion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I   Nom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4" name="Immagine 4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7648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tazion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I   Nom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Immagin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0320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4162" y="2027528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t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 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5340914"/>
            <a:ext cx="1553547" cy="322467"/>
          </a:xfrm>
          <a:prstGeom prst="rect">
            <a:avLst/>
          </a:prstGeom>
        </p:spPr>
        <p:txBody>
          <a:bodyPr lIns="0" rIns="0"/>
          <a:lstStyle>
            <a:lvl1pPr algn="l"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00 Mese 0000</a:t>
            </a:r>
          </a:p>
        </p:txBody>
      </p:sp>
      <p:pic>
        <p:nvPicPr>
          <p:cNvPr id="28" name="Immagin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084000"/>
            <a:ext cx="1686624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4710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9112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407988" y="1789113"/>
            <a:ext cx="5430838" cy="2511691"/>
          </a:xfrm>
          <a:prstGeom prst="rect">
            <a:avLst/>
          </a:prstGeom>
        </p:spPr>
        <p:txBody>
          <a:bodyPr anchor="ctr" anchorCtr="0"/>
          <a:lstStyle>
            <a:lvl1pPr algn="r">
              <a:defRPr sz="54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Copertina sezione - alt 2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4350048"/>
            <a:ext cx="5430838" cy="585527"/>
          </a:xfrm>
          <a:prstGeom prst="rect">
            <a:avLst/>
          </a:prstGeom>
        </p:spPr>
        <p:txBody>
          <a:bodyPr anchor="ctr" anchorCtr="0"/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Sottotitolo</a:t>
            </a:r>
          </a:p>
        </p:txBody>
      </p:sp>
    </p:spTree>
    <p:extLst>
      <p:ext uri="{BB962C8B-B14F-4D97-AF65-F5344CB8AC3E}">
        <p14:creationId xmlns:p14="http://schemas.microsoft.com/office/powerpoint/2010/main" val="16803962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2033067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31714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72772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276134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47804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89243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83984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099162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04094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270998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414986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9982343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41821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7643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10472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22527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9222004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18241263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22895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tazion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I   Nom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4" name="Immagine 4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40010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it-IT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sentazione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I   Nome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3" name="Immagine 3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7313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43539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45585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image" Target="../media/image6.png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image" Target="../media/image5.emf"/><Relationship Id="rId10" Type="http://schemas.openxmlformats.org/officeDocument/2006/relationships/slideLayout" Target="../slideLayouts/slideLayout3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vmlDrawing" Target="../drawings/vmlDrawing6.vml"/><Relationship Id="rId3" Type="http://schemas.openxmlformats.org/officeDocument/2006/relationships/slideLayout" Target="../slideLayouts/slideLayout4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8.emf"/><Relationship Id="rId10" Type="http://schemas.openxmlformats.org/officeDocument/2006/relationships/slideLayout" Target="../slideLayouts/slideLayout5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oleObject" Target="../embeddings/oleObject6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1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69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magine 23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34" b="22889"/>
          <a:stretch/>
        </p:blipFill>
        <p:spPr>
          <a:xfrm>
            <a:off x="-40456" y="3582172"/>
            <a:ext cx="11997465" cy="3072628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9504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" name="Immagine 26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64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  <p:sldLayoutId id="2147483679" r:id="rId15"/>
    <p:sldLayoutId id="2147483680" r:id="rId16"/>
    <p:sldLayoutId id="2147483681" r:id="rId17"/>
    <p:sldLayoutId id="2147483682" r:id="rId18"/>
    <p:sldLayoutId id="2147483684" r:id="rId19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9" name="Diapositiva think-cell" r:id="rId22" imgW="270" imgH="270" progId="TCLayout.ActiveDocument.1">
                  <p:embed/>
                </p:oleObj>
              </mc:Choice>
              <mc:Fallback>
                <p:oleObj name="Diapositiva think-cell" r:id="rId22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7" name="Immagine 26"/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055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7" name="Diapositiva think-cell" r:id="rId22" imgW="421" imgH="423" progId="TCLayout.ActiveDocument.1">
                  <p:embed/>
                </p:oleObj>
              </mc:Choice>
              <mc:Fallback>
                <p:oleObj name="Diapositiva think-cell" r:id="rId22" imgW="421" imgH="423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Rettangolo 1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" name="Immagine 26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864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magine 23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334" b="22889"/>
          <a:stretch/>
        </p:blipFill>
        <p:spPr>
          <a:xfrm>
            <a:off x="-40456" y="3582172"/>
            <a:ext cx="11997465" cy="3072628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71733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D7DBFB-DCE9-42BC-A361-A0671D12ADFC}" type="slidenum"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mato data GG/MM/AAA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DC002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tolo presentazione   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71707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Nome relator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71707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7" name="Immagine 26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00" y="6300856"/>
            <a:ext cx="1436187" cy="358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131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renitalia.com/it/informazioni/Infomobilita/notizie-infomobilita.html.html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 rotWithShape="1">
          <a:blip r:embed="rId2"/>
          <a:srcRect t="24665" b="22784"/>
          <a:stretch/>
        </p:blipFill>
        <p:spPr>
          <a:xfrm>
            <a:off x="7863" y="14028"/>
            <a:ext cx="4755314" cy="1249483"/>
          </a:xfrm>
          <a:prstGeom prst="rect">
            <a:avLst/>
          </a:prstGeom>
        </p:spPr>
      </p:pic>
      <p:sp>
        <p:nvSpPr>
          <p:cNvPr id="9" name="Rettangolo 8"/>
          <p:cNvSpPr/>
          <p:nvPr/>
        </p:nvSpPr>
        <p:spPr>
          <a:xfrm>
            <a:off x="4097547" y="568120"/>
            <a:ext cx="745891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600" b="1" u="sng" dirty="0">
                <a:solidFill>
                  <a:srgbClr val="C00000"/>
                </a:solidFill>
                <a:latin typeface="Arial" panose="020B0604020202020204" pitchFamily="34" charset="0"/>
              </a:rPr>
              <a:t>Variazione dell'offerta commerciale a seguito dell'emergenza sanitaria</a:t>
            </a:r>
            <a:endParaRPr lang="it-IT" sz="1600" u="sng" dirty="0"/>
          </a:p>
        </p:txBody>
      </p:sp>
      <p:sp>
        <p:nvSpPr>
          <p:cNvPr id="58" name="Rettangolo 57"/>
          <p:cNvSpPr/>
          <p:nvPr/>
        </p:nvSpPr>
        <p:spPr>
          <a:xfrm>
            <a:off x="4422025" y="5341982"/>
            <a:ext cx="704474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100" b="1" dirty="0" smtClean="0">
                <a:solidFill>
                  <a:srgbClr val="C00000"/>
                </a:solidFill>
              </a:rPr>
              <a:t>(*) Per </a:t>
            </a:r>
            <a:r>
              <a:rPr lang="it-IT" sz="1100" b="1" dirty="0">
                <a:solidFill>
                  <a:srgbClr val="C00000"/>
                </a:solidFill>
              </a:rPr>
              <a:t>i </a:t>
            </a:r>
            <a:r>
              <a:rPr lang="it-IT" sz="1100" b="1" dirty="0" smtClean="0">
                <a:solidFill>
                  <a:srgbClr val="C00000"/>
                </a:solidFill>
              </a:rPr>
              <a:t>treni 9512 e 9559 è previsto prolungamento/arretramento per/da Torino P.N. fino </a:t>
            </a:r>
            <a:r>
              <a:rPr lang="it-IT" sz="1100" b="1" dirty="0">
                <a:solidFill>
                  <a:srgbClr val="C00000"/>
                </a:solidFill>
              </a:rPr>
              <a:t>al 9 maggio.</a:t>
            </a:r>
            <a:endParaRPr lang="it-IT" sz="1200" b="1" dirty="0">
              <a:solidFill>
                <a:srgbClr val="C00000"/>
              </a:solidFill>
            </a:endParaRPr>
          </a:p>
        </p:txBody>
      </p:sp>
      <p:sp>
        <p:nvSpPr>
          <p:cNvPr id="60" name="Rettangolo 59"/>
          <p:cNvSpPr/>
          <p:nvPr/>
        </p:nvSpPr>
        <p:spPr>
          <a:xfrm>
            <a:off x="4422025" y="3091360"/>
            <a:ext cx="144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FR 9512 </a:t>
            </a:r>
            <a:r>
              <a:rPr lang="it-IT" sz="1200" dirty="0" smtClean="0"/>
              <a:t>(*)</a:t>
            </a:r>
            <a:endParaRPr lang="it-IT" dirty="0"/>
          </a:p>
        </p:txBody>
      </p:sp>
      <p:sp>
        <p:nvSpPr>
          <p:cNvPr id="64" name="Rettangolo 63"/>
          <p:cNvSpPr/>
          <p:nvPr/>
        </p:nvSpPr>
        <p:spPr>
          <a:xfrm>
            <a:off x="4422025" y="4604150"/>
            <a:ext cx="144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FR 9556</a:t>
            </a:r>
            <a:endParaRPr lang="it-IT" dirty="0"/>
          </a:p>
        </p:txBody>
      </p:sp>
      <p:sp>
        <p:nvSpPr>
          <p:cNvPr id="59" name="Rettangolo 58"/>
          <p:cNvSpPr/>
          <p:nvPr/>
        </p:nvSpPr>
        <p:spPr>
          <a:xfrm>
            <a:off x="4422025" y="1496708"/>
            <a:ext cx="704474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dirty="0">
                <a:solidFill>
                  <a:srgbClr val="1F497D"/>
                </a:solidFill>
              </a:rPr>
              <a:t>dal</a:t>
            </a:r>
            <a:r>
              <a:rPr lang="it-IT" dirty="0" smtClean="0">
                <a:solidFill>
                  <a:srgbClr val="FF0000"/>
                </a:solidFill>
              </a:rPr>
              <a:t> </a:t>
            </a:r>
            <a:r>
              <a:rPr lang="it-IT" sz="3200" b="1" dirty="0" smtClean="0">
                <a:solidFill>
                  <a:srgbClr val="C00000"/>
                </a:solidFill>
              </a:rPr>
              <a:t>30 aprile </a:t>
            </a:r>
            <a:r>
              <a:rPr lang="it-IT" dirty="0" smtClean="0">
                <a:solidFill>
                  <a:srgbClr val="1F497D"/>
                </a:solidFill>
              </a:rPr>
              <a:t>apertura </a:t>
            </a:r>
            <a:r>
              <a:rPr lang="it-IT" dirty="0">
                <a:solidFill>
                  <a:srgbClr val="1F497D"/>
                </a:solidFill>
              </a:rPr>
              <a:t>2 nuove coppie di </a:t>
            </a:r>
            <a:r>
              <a:rPr lang="it-IT" dirty="0" smtClean="0">
                <a:solidFill>
                  <a:srgbClr val="1F497D"/>
                </a:solidFill>
              </a:rPr>
              <a:t>treni </a:t>
            </a:r>
            <a:r>
              <a:rPr lang="it-IT" dirty="0" err="1" smtClean="0">
                <a:solidFill>
                  <a:srgbClr val="1F497D"/>
                </a:solidFill>
              </a:rPr>
              <a:t>FrecciaRossa</a:t>
            </a:r>
            <a:endParaRPr lang="it-IT" dirty="0" smtClean="0">
              <a:solidFill>
                <a:srgbClr val="1F497D"/>
              </a:solidFill>
            </a:endParaRPr>
          </a:p>
          <a:p>
            <a:pPr algn="ctr"/>
            <a:r>
              <a:rPr lang="it-IT" dirty="0" smtClean="0">
                <a:solidFill>
                  <a:srgbClr val="1F497D"/>
                </a:solidFill>
              </a:rPr>
              <a:t>sulle tratte TO/MI-NA</a:t>
            </a:r>
            <a:endParaRPr lang="it-IT" sz="2000" dirty="0">
              <a:solidFill>
                <a:srgbClr val="000000"/>
              </a:solidFill>
            </a:endParaRPr>
          </a:p>
        </p:txBody>
      </p:sp>
      <p:grpSp>
        <p:nvGrpSpPr>
          <p:cNvPr id="115" name="Gruppo 114"/>
          <p:cNvGrpSpPr/>
          <p:nvPr/>
        </p:nvGrpSpPr>
        <p:grpSpPr>
          <a:xfrm>
            <a:off x="613825" y="1136678"/>
            <a:ext cx="4398995" cy="5399589"/>
            <a:chOff x="808566" y="1136678"/>
            <a:chExt cx="4398995" cy="5399589"/>
          </a:xfrm>
        </p:grpSpPr>
        <p:grpSp>
          <p:nvGrpSpPr>
            <p:cNvPr id="11" name="Gruppo 10">
              <a:extLst>
                <a:ext uri="{FF2B5EF4-FFF2-40B4-BE49-F238E27FC236}">
                  <a16:creationId xmlns:a16="http://schemas.microsoft.com/office/drawing/2014/main" id="{B4ADF265-C54D-4E96-A3B9-1BB663A46A81}"/>
                </a:ext>
              </a:extLst>
            </p:cNvPr>
            <p:cNvGrpSpPr/>
            <p:nvPr/>
          </p:nvGrpSpPr>
          <p:grpSpPr>
            <a:xfrm>
              <a:off x="808566" y="1136678"/>
              <a:ext cx="4398995" cy="5399589"/>
              <a:chOff x="695325" y="1987550"/>
              <a:chExt cx="3468688" cy="4257675"/>
            </a:xfrm>
          </p:grpSpPr>
          <p:grpSp>
            <p:nvGrpSpPr>
              <p:cNvPr id="12" name="Gruppo 14"/>
              <p:cNvGrpSpPr>
                <a:grpSpLocks/>
              </p:cNvGrpSpPr>
              <p:nvPr/>
            </p:nvGrpSpPr>
            <p:grpSpPr bwMode="auto">
              <a:xfrm>
                <a:off x="695325" y="1987550"/>
                <a:ext cx="3468688" cy="4257675"/>
                <a:chOff x="3519431" y="1213483"/>
                <a:chExt cx="5032262" cy="6175957"/>
              </a:xfrm>
            </p:grpSpPr>
            <p:grpSp>
              <p:nvGrpSpPr>
                <p:cNvPr id="17" name="Gruppo 15"/>
                <p:cNvGrpSpPr>
                  <a:grpSpLocks/>
                </p:cNvGrpSpPr>
                <p:nvPr/>
              </p:nvGrpSpPr>
              <p:grpSpPr bwMode="auto">
                <a:xfrm>
                  <a:off x="3519431" y="1213483"/>
                  <a:ext cx="5032262" cy="6175957"/>
                  <a:chOff x="3519431" y="1213483"/>
                  <a:chExt cx="5032262" cy="6175957"/>
                </a:xfrm>
              </p:grpSpPr>
              <p:sp>
                <p:nvSpPr>
                  <p:cNvPr id="19" name="Freeform 7">
                    <a:extLst>
                      <a:ext uri="{FF2B5EF4-FFF2-40B4-BE49-F238E27FC236}">
                        <a16:creationId xmlns:a16="http://schemas.microsoft.com/office/drawing/2014/main" id="{6D0856A7-3009-4A73-9C74-69E5183171E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06404" y="2855340"/>
                    <a:ext cx="39152" cy="52962"/>
                  </a:xfrm>
                  <a:custGeom>
                    <a:avLst/>
                    <a:gdLst>
                      <a:gd name="T0" fmla="*/ 24 w 31"/>
                      <a:gd name="T1" fmla="*/ 38 h 42"/>
                      <a:gd name="T2" fmla="*/ 24 w 31"/>
                      <a:gd name="T3" fmla="*/ 38 h 42"/>
                      <a:gd name="T4" fmla="*/ 17 w 31"/>
                      <a:gd name="T5" fmla="*/ 42 h 42"/>
                      <a:gd name="T6" fmla="*/ 5 w 31"/>
                      <a:gd name="T7" fmla="*/ 38 h 42"/>
                      <a:gd name="T8" fmla="*/ 0 w 31"/>
                      <a:gd name="T9" fmla="*/ 31 h 42"/>
                      <a:gd name="T10" fmla="*/ 2 w 31"/>
                      <a:gd name="T11" fmla="*/ 19 h 42"/>
                      <a:gd name="T12" fmla="*/ 7 w 31"/>
                      <a:gd name="T13" fmla="*/ 9 h 42"/>
                      <a:gd name="T14" fmla="*/ 17 w 31"/>
                      <a:gd name="T15" fmla="*/ 5 h 42"/>
                      <a:gd name="T16" fmla="*/ 26 w 31"/>
                      <a:gd name="T17" fmla="*/ 0 h 42"/>
                      <a:gd name="T18" fmla="*/ 28 w 31"/>
                      <a:gd name="T19" fmla="*/ 5 h 42"/>
                      <a:gd name="T20" fmla="*/ 31 w 31"/>
                      <a:gd name="T21" fmla="*/ 12 h 42"/>
                      <a:gd name="T22" fmla="*/ 31 w 31"/>
                      <a:gd name="T23" fmla="*/ 19 h 42"/>
                      <a:gd name="T24" fmla="*/ 28 w 31"/>
                      <a:gd name="T25" fmla="*/ 24 h 42"/>
                      <a:gd name="T26" fmla="*/ 28 w 31"/>
                      <a:gd name="T27" fmla="*/ 26 h 42"/>
                      <a:gd name="T28" fmla="*/ 28 w 31"/>
                      <a:gd name="T29" fmla="*/ 26 h 42"/>
                      <a:gd name="T30" fmla="*/ 28 w 31"/>
                      <a:gd name="T31" fmla="*/ 28 h 42"/>
                      <a:gd name="T32" fmla="*/ 28 w 31"/>
                      <a:gd name="T33" fmla="*/ 28 h 42"/>
                      <a:gd name="T34" fmla="*/ 24 w 31"/>
                      <a:gd name="T35" fmla="*/ 38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1" h="42">
                        <a:moveTo>
                          <a:pt x="24" y="38"/>
                        </a:moveTo>
                        <a:lnTo>
                          <a:pt x="24" y="38"/>
                        </a:lnTo>
                        <a:lnTo>
                          <a:pt x="17" y="42"/>
                        </a:lnTo>
                        <a:lnTo>
                          <a:pt x="5" y="38"/>
                        </a:lnTo>
                        <a:lnTo>
                          <a:pt x="0" y="31"/>
                        </a:lnTo>
                        <a:lnTo>
                          <a:pt x="2" y="19"/>
                        </a:lnTo>
                        <a:lnTo>
                          <a:pt x="7" y="9"/>
                        </a:lnTo>
                        <a:lnTo>
                          <a:pt x="17" y="5"/>
                        </a:lnTo>
                        <a:lnTo>
                          <a:pt x="26" y="0"/>
                        </a:lnTo>
                        <a:lnTo>
                          <a:pt x="28" y="5"/>
                        </a:lnTo>
                        <a:lnTo>
                          <a:pt x="31" y="12"/>
                        </a:lnTo>
                        <a:lnTo>
                          <a:pt x="31" y="19"/>
                        </a:lnTo>
                        <a:lnTo>
                          <a:pt x="28" y="24"/>
                        </a:lnTo>
                        <a:lnTo>
                          <a:pt x="28" y="26"/>
                        </a:lnTo>
                        <a:lnTo>
                          <a:pt x="28" y="26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4" y="38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20" name="Freeform 8">
                    <a:extLst>
                      <a:ext uri="{FF2B5EF4-FFF2-40B4-BE49-F238E27FC236}">
                        <a16:creationId xmlns:a16="http://schemas.microsoft.com/office/drawing/2014/main" id="{4C8AFCCC-A09E-4AE9-9A12-A9A8ACE0D34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806404" y="2855340"/>
                    <a:ext cx="39152" cy="52962"/>
                  </a:xfrm>
                  <a:custGeom>
                    <a:avLst/>
                    <a:gdLst>
                      <a:gd name="T0" fmla="*/ 24 w 31"/>
                      <a:gd name="T1" fmla="*/ 38 h 42"/>
                      <a:gd name="T2" fmla="*/ 24 w 31"/>
                      <a:gd name="T3" fmla="*/ 38 h 42"/>
                      <a:gd name="T4" fmla="*/ 17 w 31"/>
                      <a:gd name="T5" fmla="*/ 42 h 42"/>
                      <a:gd name="T6" fmla="*/ 5 w 31"/>
                      <a:gd name="T7" fmla="*/ 38 h 42"/>
                      <a:gd name="T8" fmla="*/ 0 w 31"/>
                      <a:gd name="T9" fmla="*/ 31 h 42"/>
                      <a:gd name="T10" fmla="*/ 2 w 31"/>
                      <a:gd name="T11" fmla="*/ 19 h 42"/>
                      <a:gd name="T12" fmla="*/ 7 w 31"/>
                      <a:gd name="T13" fmla="*/ 9 h 42"/>
                      <a:gd name="T14" fmla="*/ 17 w 31"/>
                      <a:gd name="T15" fmla="*/ 5 h 42"/>
                      <a:gd name="T16" fmla="*/ 26 w 31"/>
                      <a:gd name="T17" fmla="*/ 0 h 42"/>
                      <a:gd name="T18" fmla="*/ 28 w 31"/>
                      <a:gd name="T19" fmla="*/ 5 h 42"/>
                      <a:gd name="T20" fmla="*/ 31 w 31"/>
                      <a:gd name="T21" fmla="*/ 12 h 42"/>
                      <a:gd name="T22" fmla="*/ 31 w 31"/>
                      <a:gd name="T23" fmla="*/ 19 h 42"/>
                      <a:gd name="T24" fmla="*/ 28 w 31"/>
                      <a:gd name="T25" fmla="*/ 24 h 42"/>
                      <a:gd name="T26" fmla="*/ 28 w 31"/>
                      <a:gd name="T27" fmla="*/ 26 h 42"/>
                      <a:gd name="T28" fmla="*/ 28 w 31"/>
                      <a:gd name="T29" fmla="*/ 26 h 42"/>
                      <a:gd name="T30" fmla="*/ 28 w 31"/>
                      <a:gd name="T31" fmla="*/ 28 h 42"/>
                      <a:gd name="T32" fmla="*/ 28 w 31"/>
                      <a:gd name="T33" fmla="*/ 28 h 42"/>
                      <a:gd name="T34" fmla="*/ 24 w 31"/>
                      <a:gd name="T35" fmla="*/ 38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1" h="42">
                        <a:moveTo>
                          <a:pt x="24" y="38"/>
                        </a:moveTo>
                        <a:lnTo>
                          <a:pt x="24" y="38"/>
                        </a:lnTo>
                        <a:lnTo>
                          <a:pt x="17" y="42"/>
                        </a:lnTo>
                        <a:lnTo>
                          <a:pt x="5" y="38"/>
                        </a:lnTo>
                        <a:lnTo>
                          <a:pt x="0" y="31"/>
                        </a:lnTo>
                        <a:lnTo>
                          <a:pt x="2" y="19"/>
                        </a:lnTo>
                        <a:lnTo>
                          <a:pt x="7" y="9"/>
                        </a:lnTo>
                        <a:lnTo>
                          <a:pt x="17" y="5"/>
                        </a:lnTo>
                        <a:lnTo>
                          <a:pt x="26" y="0"/>
                        </a:lnTo>
                        <a:lnTo>
                          <a:pt x="28" y="5"/>
                        </a:lnTo>
                        <a:lnTo>
                          <a:pt x="31" y="12"/>
                        </a:lnTo>
                        <a:lnTo>
                          <a:pt x="31" y="19"/>
                        </a:lnTo>
                        <a:lnTo>
                          <a:pt x="28" y="24"/>
                        </a:lnTo>
                        <a:lnTo>
                          <a:pt x="28" y="26"/>
                        </a:lnTo>
                        <a:lnTo>
                          <a:pt x="28" y="26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4" y="38"/>
                        </a:lnTo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  <a:extLst/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21" name="Freeform 9">
                    <a:extLst>
                      <a:ext uri="{FF2B5EF4-FFF2-40B4-BE49-F238E27FC236}">
                        <a16:creationId xmlns:a16="http://schemas.microsoft.com/office/drawing/2014/main" id="{3FB68355-1779-4021-B57C-EB1AE25655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83742" y="3976775"/>
                    <a:ext cx="6910" cy="2303"/>
                  </a:xfrm>
                  <a:custGeom>
                    <a:avLst/>
                    <a:gdLst>
                      <a:gd name="T0" fmla="*/ 4 w 4"/>
                      <a:gd name="T1" fmla="*/ 3 h 3"/>
                      <a:gd name="T2" fmla="*/ 4 w 4"/>
                      <a:gd name="T3" fmla="*/ 3 h 3"/>
                      <a:gd name="T4" fmla="*/ 0 w 4"/>
                      <a:gd name="T5" fmla="*/ 3 h 3"/>
                      <a:gd name="T6" fmla="*/ 0 w 4"/>
                      <a:gd name="T7" fmla="*/ 3 h 3"/>
                      <a:gd name="T8" fmla="*/ 0 w 4"/>
                      <a:gd name="T9" fmla="*/ 0 h 3"/>
                      <a:gd name="T10" fmla="*/ 2 w 4"/>
                      <a:gd name="T11" fmla="*/ 0 h 3"/>
                      <a:gd name="T12" fmla="*/ 4 w 4"/>
                      <a:gd name="T1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3">
                        <a:moveTo>
                          <a:pt x="4" y="3"/>
                        </a:moveTo>
                        <a:lnTo>
                          <a:pt x="4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4" y="3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22" name="Freeform 10">
                    <a:extLst>
                      <a:ext uri="{FF2B5EF4-FFF2-40B4-BE49-F238E27FC236}">
                        <a16:creationId xmlns:a16="http://schemas.microsoft.com/office/drawing/2014/main" id="{1977685E-A18E-425E-B0A2-C31C5FCFE28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983742" y="3976775"/>
                    <a:ext cx="6910" cy="2303"/>
                  </a:xfrm>
                  <a:custGeom>
                    <a:avLst/>
                    <a:gdLst>
                      <a:gd name="T0" fmla="*/ 4 w 4"/>
                      <a:gd name="T1" fmla="*/ 3 h 3"/>
                      <a:gd name="T2" fmla="*/ 4 w 4"/>
                      <a:gd name="T3" fmla="*/ 3 h 3"/>
                      <a:gd name="T4" fmla="*/ 0 w 4"/>
                      <a:gd name="T5" fmla="*/ 3 h 3"/>
                      <a:gd name="T6" fmla="*/ 0 w 4"/>
                      <a:gd name="T7" fmla="*/ 3 h 3"/>
                      <a:gd name="T8" fmla="*/ 0 w 4"/>
                      <a:gd name="T9" fmla="*/ 0 h 3"/>
                      <a:gd name="T10" fmla="*/ 2 w 4"/>
                      <a:gd name="T11" fmla="*/ 0 h 3"/>
                      <a:gd name="T12" fmla="*/ 4 w 4"/>
                      <a:gd name="T1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4" h="3">
                        <a:moveTo>
                          <a:pt x="4" y="3"/>
                        </a:moveTo>
                        <a:lnTo>
                          <a:pt x="4" y="3"/>
                        </a:lnTo>
                        <a:lnTo>
                          <a:pt x="0" y="3"/>
                        </a:lnTo>
                        <a:lnTo>
                          <a:pt x="0" y="3"/>
                        </a:lnTo>
                        <a:lnTo>
                          <a:pt x="0" y="0"/>
                        </a:lnTo>
                        <a:lnTo>
                          <a:pt x="2" y="0"/>
                        </a:lnTo>
                        <a:lnTo>
                          <a:pt x="4" y="3"/>
                        </a:lnTo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  <a:extLst/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23" name="Freeform 11">
                    <a:extLst>
                      <a:ext uri="{FF2B5EF4-FFF2-40B4-BE49-F238E27FC236}">
                        <a16:creationId xmlns:a16="http://schemas.microsoft.com/office/drawing/2014/main" id="{2BD0133B-26C8-4EC8-A46F-FEE65FB97E9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082776" y="1736206"/>
                    <a:ext cx="34546" cy="25329"/>
                  </a:xfrm>
                  <a:custGeom>
                    <a:avLst/>
                    <a:gdLst>
                      <a:gd name="T0" fmla="*/ 14 w 26"/>
                      <a:gd name="T1" fmla="*/ 19 h 19"/>
                      <a:gd name="T2" fmla="*/ 14 w 26"/>
                      <a:gd name="T3" fmla="*/ 19 h 19"/>
                      <a:gd name="T4" fmla="*/ 4 w 26"/>
                      <a:gd name="T5" fmla="*/ 19 h 19"/>
                      <a:gd name="T6" fmla="*/ 0 w 26"/>
                      <a:gd name="T7" fmla="*/ 16 h 19"/>
                      <a:gd name="T8" fmla="*/ 2 w 26"/>
                      <a:gd name="T9" fmla="*/ 9 h 19"/>
                      <a:gd name="T10" fmla="*/ 2 w 26"/>
                      <a:gd name="T11" fmla="*/ 0 h 19"/>
                      <a:gd name="T12" fmla="*/ 7 w 26"/>
                      <a:gd name="T13" fmla="*/ 2 h 19"/>
                      <a:gd name="T14" fmla="*/ 9 w 26"/>
                      <a:gd name="T15" fmla="*/ 2 h 19"/>
                      <a:gd name="T16" fmla="*/ 12 w 26"/>
                      <a:gd name="T17" fmla="*/ 2 h 19"/>
                      <a:gd name="T18" fmla="*/ 14 w 26"/>
                      <a:gd name="T19" fmla="*/ 5 h 19"/>
                      <a:gd name="T20" fmla="*/ 16 w 26"/>
                      <a:gd name="T21" fmla="*/ 5 h 19"/>
                      <a:gd name="T22" fmla="*/ 19 w 26"/>
                      <a:gd name="T23" fmla="*/ 5 h 19"/>
                      <a:gd name="T24" fmla="*/ 19 w 26"/>
                      <a:gd name="T25" fmla="*/ 5 h 19"/>
                      <a:gd name="T26" fmla="*/ 19 w 26"/>
                      <a:gd name="T27" fmla="*/ 5 h 19"/>
                      <a:gd name="T28" fmla="*/ 21 w 26"/>
                      <a:gd name="T29" fmla="*/ 5 h 19"/>
                      <a:gd name="T30" fmla="*/ 21 w 26"/>
                      <a:gd name="T31" fmla="*/ 7 h 19"/>
                      <a:gd name="T32" fmla="*/ 21 w 26"/>
                      <a:gd name="T33" fmla="*/ 7 h 19"/>
                      <a:gd name="T34" fmla="*/ 23 w 26"/>
                      <a:gd name="T35" fmla="*/ 7 h 19"/>
                      <a:gd name="T36" fmla="*/ 23 w 26"/>
                      <a:gd name="T37" fmla="*/ 7 h 19"/>
                      <a:gd name="T38" fmla="*/ 26 w 26"/>
                      <a:gd name="T39" fmla="*/ 7 h 19"/>
                      <a:gd name="T40" fmla="*/ 26 w 26"/>
                      <a:gd name="T41" fmla="*/ 9 h 19"/>
                      <a:gd name="T42" fmla="*/ 26 w 26"/>
                      <a:gd name="T43" fmla="*/ 12 h 19"/>
                      <a:gd name="T44" fmla="*/ 23 w 26"/>
                      <a:gd name="T45" fmla="*/ 12 h 19"/>
                      <a:gd name="T46" fmla="*/ 23 w 26"/>
                      <a:gd name="T47" fmla="*/ 12 h 19"/>
                      <a:gd name="T48" fmla="*/ 19 w 26"/>
                      <a:gd name="T49" fmla="*/ 14 h 19"/>
                      <a:gd name="T50" fmla="*/ 14 w 26"/>
                      <a:gd name="T51" fmla="*/ 1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</a:cxnLst>
                    <a:rect l="0" t="0" r="r" b="b"/>
                    <a:pathLst>
                      <a:path w="26" h="19">
                        <a:moveTo>
                          <a:pt x="14" y="19"/>
                        </a:moveTo>
                        <a:lnTo>
                          <a:pt x="14" y="19"/>
                        </a:lnTo>
                        <a:lnTo>
                          <a:pt x="4" y="19"/>
                        </a:lnTo>
                        <a:lnTo>
                          <a:pt x="0" y="16"/>
                        </a:lnTo>
                        <a:lnTo>
                          <a:pt x="2" y="9"/>
                        </a:lnTo>
                        <a:lnTo>
                          <a:pt x="2" y="0"/>
                        </a:lnTo>
                        <a:lnTo>
                          <a:pt x="7" y="2"/>
                        </a:lnTo>
                        <a:lnTo>
                          <a:pt x="9" y="2"/>
                        </a:lnTo>
                        <a:lnTo>
                          <a:pt x="12" y="2"/>
                        </a:lnTo>
                        <a:lnTo>
                          <a:pt x="14" y="5"/>
                        </a:lnTo>
                        <a:lnTo>
                          <a:pt x="16" y="5"/>
                        </a:lnTo>
                        <a:lnTo>
                          <a:pt x="19" y="5"/>
                        </a:lnTo>
                        <a:lnTo>
                          <a:pt x="19" y="5"/>
                        </a:lnTo>
                        <a:lnTo>
                          <a:pt x="19" y="5"/>
                        </a:lnTo>
                        <a:lnTo>
                          <a:pt x="21" y="5"/>
                        </a:lnTo>
                        <a:lnTo>
                          <a:pt x="21" y="7"/>
                        </a:lnTo>
                        <a:lnTo>
                          <a:pt x="21" y="7"/>
                        </a:lnTo>
                        <a:lnTo>
                          <a:pt x="23" y="7"/>
                        </a:lnTo>
                        <a:lnTo>
                          <a:pt x="23" y="7"/>
                        </a:lnTo>
                        <a:lnTo>
                          <a:pt x="26" y="7"/>
                        </a:lnTo>
                        <a:lnTo>
                          <a:pt x="26" y="9"/>
                        </a:lnTo>
                        <a:lnTo>
                          <a:pt x="26" y="12"/>
                        </a:lnTo>
                        <a:lnTo>
                          <a:pt x="23" y="12"/>
                        </a:lnTo>
                        <a:lnTo>
                          <a:pt x="23" y="12"/>
                        </a:lnTo>
                        <a:lnTo>
                          <a:pt x="19" y="14"/>
                        </a:lnTo>
                        <a:lnTo>
                          <a:pt x="14" y="19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24" name="Freeform 12">
                    <a:extLst>
                      <a:ext uri="{FF2B5EF4-FFF2-40B4-BE49-F238E27FC236}">
                        <a16:creationId xmlns:a16="http://schemas.microsoft.com/office/drawing/2014/main" id="{AA5F083D-CE32-430E-88BF-7602C9D8D4E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082776" y="1736206"/>
                    <a:ext cx="34546" cy="25329"/>
                  </a:xfrm>
                  <a:custGeom>
                    <a:avLst/>
                    <a:gdLst>
                      <a:gd name="T0" fmla="*/ 14 w 26"/>
                      <a:gd name="T1" fmla="*/ 19 h 19"/>
                      <a:gd name="T2" fmla="*/ 14 w 26"/>
                      <a:gd name="T3" fmla="*/ 19 h 19"/>
                      <a:gd name="T4" fmla="*/ 4 w 26"/>
                      <a:gd name="T5" fmla="*/ 19 h 19"/>
                      <a:gd name="T6" fmla="*/ 0 w 26"/>
                      <a:gd name="T7" fmla="*/ 16 h 19"/>
                      <a:gd name="T8" fmla="*/ 2 w 26"/>
                      <a:gd name="T9" fmla="*/ 9 h 19"/>
                      <a:gd name="T10" fmla="*/ 2 w 26"/>
                      <a:gd name="T11" fmla="*/ 0 h 19"/>
                      <a:gd name="T12" fmla="*/ 7 w 26"/>
                      <a:gd name="T13" fmla="*/ 2 h 19"/>
                      <a:gd name="T14" fmla="*/ 9 w 26"/>
                      <a:gd name="T15" fmla="*/ 2 h 19"/>
                      <a:gd name="T16" fmla="*/ 12 w 26"/>
                      <a:gd name="T17" fmla="*/ 2 h 19"/>
                      <a:gd name="T18" fmla="*/ 14 w 26"/>
                      <a:gd name="T19" fmla="*/ 5 h 19"/>
                      <a:gd name="T20" fmla="*/ 16 w 26"/>
                      <a:gd name="T21" fmla="*/ 5 h 19"/>
                      <a:gd name="T22" fmla="*/ 19 w 26"/>
                      <a:gd name="T23" fmla="*/ 5 h 19"/>
                      <a:gd name="T24" fmla="*/ 19 w 26"/>
                      <a:gd name="T25" fmla="*/ 5 h 19"/>
                      <a:gd name="T26" fmla="*/ 19 w 26"/>
                      <a:gd name="T27" fmla="*/ 5 h 19"/>
                      <a:gd name="T28" fmla="*/ 21 w 26"/>
                      <a:gd name="T29" fmla="*/ 5 h 19"/>
                      <a:gd name="T30" fmla="*/ 21 w 26"/>
                      <a:gd name="T31" fmla="*/ 7 h 19"/>
                      <a:gd name="T32" fmla="*/ 21 w 26"/>
                      <a:gd name="T33" fmla="*/ 7 h 19"/>
                      <a:gd name="T34" fmla="*/ 23 w 26"/>
                      <a:gd name="T35" fmla="*/ 7 h 19"/>
                      <a:gd name="T36" fmla="*/ 23 w 26"/>
                      <a:gd name="T37" fmla="*/ 7 h 19"/>
                      <a:gd name="T38" fmla="*/ 26 w 26"/>
                      <a:gd name="T39" fmla="*/ 7 h 19"/>
                      <a:gd name="T40" fmla="*/ 26 w 26"/>
                      <a:gd name="T41" fmla="*/ 9 h 19"/>
                      <a:gd name="T42" fmla="*/ 26 w 26"/>
                      <a:gd name="T43" fmla="*/ 12 h 19"/>
                      <a:gd name="T44" fmla="*/ 23 w 26"/>
                      <a:gd name="T45" fmla="*/ 12 h 19"/>
                      <a:gd name="T46" fmla="*/ 23 w 26"/>
                      <a:gd name="T47" fmla="*/ 12 h 19"/>
                      <a:gd name="T48" fmla="*/ 19 w 26"/>
                      <a:gd name="T49" fmla="*/ 14 h 19"/>
                      <a:gd name="T50" fmla="*/ 14 w 26"/>
                      <a:gd name="T51" fmla="*/ 19 h 1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</a:cxnLst>
                    <a:rect l="0" t="0" r="r" b="b"/>
                    <a:pathLst>
                      <a:path w="26" h="19">
                        <a:moveTo>
                          <a:pt x="14" y="19"/>
                        </a:moveTo>
                        <a:lnTo>
                          <a:pt x="14" y="19"/>
                        </a:lnTo>
                        <a:lnTo>
                          <a:pt x="4" y="19"/>
                        </a:lnTo>
                        <a:lnTo>
                          <a:pt x="0" y="16"/>
                        </a:lnTo>
                        <a:lnTo>
                          <a:pt x="2" y="9"/>
                        </a:lnTo>
                        <a:lnTo>
                          <a:pt x="2" y="0"/>
                        </a:lnTo>
                        <a:lnTo>
                          <a:pt x="7" y="2"/>
                        </a:lnTo>
                        <a:lnTo>
                          <a:pt x="9" y="2"/>
                        </a:lnTo>
                        <a:lnTo>
                          <a:pt x="12" y="2"/>
                        </a:lnTo>
                        <a:lnTo>
                          <a:pt x="14" y="5"/>
                        </a:lnTo>
                        <a:lnTo>
                          <a:pt x="16" y="5"/>
                        </a:lnTo>
                        <a:lnTo>
                          <a:pt x="19" y="5"/>
                        </a:lnTo>
                        <a:lnTo>
                          <a:pt x="19" y="5"/>
                        </a:lnTo>
                        <a:lnTo>
                          <a:pt x="19" y="5"/>
                        </a:lnTo>
                        <a:lnTo>
                          <a:pt x="21" y="5"/>
                        </a:lnTo>
                        <a:lnTo>
                          <a:pt x="21" y="7"/>
                        </a:lnTo>
                        <a:lnTo>
                          <a:pt x="21" y="7"/>
                        </a:lnTo>
                        <a:lnTo>
                          <a:pt x="23" y="7"/>
                        </a:lnTo>
                        <a:lnTo>
                          <a:pt x="23" y="7"/>
                        </a:lnTo>
                        <a:lnTo>
                          <a:pt x="26" y="7"/>
                        </a:lnTo>
                        <a:lnTo>
                          <a:pt x="26" y="9"/>
                        </a:lnTo>
                        <a:lnTo>
                          <a:pt x="26" y="12"/>
                        </a:lnTo>
                        <a:lnTo>
                          <a:pt x="23" y="12"/>
                        </a:lnTo>
                        <a:lnTo>
                          <a:pt x="23" y="12"/>
                        </a:lnTo>
                        <a:lnTo>
                          <a:pt x="19" y="14"/>
                        </a:lnTo>
                        <a:lnTo>
                          <a:pt x="14" y="19"/>
                        </a:lnTo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  <a:extLst/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25" name="Freeform 13">
                    <a:extLst>
                      <a:ext uri="{FF2B5EF4-FFF2-40B4-BE49-F238E27FC236}">
                        <a16:creationId xmlns:a16="http://schemas.microsoft.com/office/drawing/2014/main" id="{E976D60F-9826-4435-A780-A2DE491938C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32793" y="2348736"/>
                    <a:ext cx="1407191" cy="656281"/>
                  </a:xfrm>
                  <a:custGeom>
                    <a:avLst/>
                    <a:gdLst>
                      <a:gd name="T0" fmla="*/ 906 w 1107"/>
                      <a:gd name="T1" fmla="*/ 57 h 516"/>
                      <a:gd name="T2" fmla="*/ 951 w 1107"/>
                      <a:gd name="T3" fmla="*/ 249 h 516"/>
                      <a:gd name="T4" fmla="*/ 1024 w 1107"/>
                      <a:gd name="T5" fmla="*/ 343 h 516"/>
                      <a:gd name="T6" fmla="*/ 1102 w 1107"/>
                      <a:gd name="T7" fmla="*/ 412 h 516"/>
                      <a:gd name="T8" fmla="*/ 1095 w 1107"/>
                      <a:gd name="T9" fmla="*/ 440 h 516"/>
                      <a:gd name="T10" fmla="*/ 1074 w 1107"/>
                      <a:gd name="T11" fmla="*/ 452 h 516"/>
                      <a:gd name="T12" fmla="*/ 1055 w 1107"/>
                      <a:gd name="T13" fmla="*/ 440 h 516"/>
                      <a:gd name="T14" fmla="*/ 1031 w 1107"/>
                      <a:gd name="T15" fmla="*/ 426 h 516"/>
                      <a:gd name="T16" fmla="*/ 979 w 1107"/>
                      <a:gd name="T17" fmla="*/ 419 h 516"/>
                      <a:gd name="T18" fmla="*/ 932 w 1107"/>
                      <a:gd name="T19" fmla="*/ 438 h 516"/>
                      <a:gd name="T20" fmla="*/ 923 w 1107"/>
                      <a:gd name="T21" fmla="*/ 514 h 516"/>
                      <a:gd name="T22" fmla="*/ 830 w 1107"/>
                      <a:gd name="T23" fmla="*/ 497 h 516"/>
                      <a:gd name="T24" fmla="*/ 785 w 1107"/>
                      <a:gd name="T25" fmla="*/ 457 h 516"/>
                      <a:gd name="T26" fmla="*/ 774 w 1107"/>
                      <a:gd name="T27" fmla="*/ 424 h 516"/>
                      <a:gd name="T28" fmla="*/ 792 w 1107"/>
                      <a:gd name="T29" fmla="*/ 381 h 516"/>
                      <a:gd name="T30" fmla="*/ 764 w 1107"/>
                      <a:gd name="T31" fmla="*/ 381 h 516"/>
                      <a:gd name="T32" fmla="*/ 748 w 1107"/>
                      <a:gd name="T33" fmla="*/ 365 h 516"/>
                      <a:gd name="T34" fmla="*/ 700 w 1107"/>
                      <a:gd name="T35" fmla="*/ 355 h 516"/>
                      <a:gd name="T36" fmla="*/ 677 w 1107"/>
                      <a:gd name="T37" fmla="*/ 353 h 516"/>
                      <a:gd name="T38" fmla="*/ 629 w 1107"/>
                      <a:gd name="T39" fmla="*/ 384 h 516"/>
                      <a:gd name="T40" fmla="*/ 646 w 1107"/>
                      <a:gd name="T41" fmla="*/ 398 h 516"/>
                      <a:gd name="T42" fmla="*/ 570 w 1107"/>
                      <a:gd name="T43" fmla="*/ 410 h 516"/>
                      <a:gd name="T44" fmla="*/ 565 w 1107"/>
                      <a:gd name="T45" fmla="*/ 405 h 516"/>
                      <a:gd name="T46" fmla="*/ 535 w 1107"/>
                      <a:gd name="T47" fmla="*/ 426 h 516"/>
                      <a:gd name="T48" fmla="*/ 457 w 1107"/>
                      <a:gd name="T49" fmla="*/ 410 h 516"/>
                      <a:gd name="T50" fmla="*/ 409 w 1107"/>
                      <a:gd name="T51" fmla="*/ 398 h 516"/>
                      <a:gd name="T52" fmla="*/ 345 w 1107"/>
                      <a:gd name="T53" fmla="*/ 370 h 516"/>
                      <a:gd name="T54" fmla="*/ 281 w 1107"/>
                      <a:gd name="T55" fmla="*/ 348 h 516"/>
                      <a:gd name="T56" fmla="*/ 253 w 1107"/>
                      <a:gd name="T57" fmla="*/ 315 h 516"/>
                      <a:gd name="T58" fmla="*/ 192 w 1107"/>
                      <a:gd name="T59" fmla="*/ 317 h 516"/>
                      <a:gd name="T60" fmla="*/ 161 w 1107"/>
                      <a:gd name="T61" fmla="*/ 353 h 516"/>
                      <a:gd name="T62" fmla="*/ 123 w 1107"/>
                      <a:gd name="T63" fmla="*/ 334 h 516"/>
                      <a:gd name="T64" fmla="*/ 83 w 1107"/>
                      <a:gd name="T65" fmla="*/ 343 h 516"/>
                      <a:gd name="T66" fmla="*/ 95 w 1107"/>
                      <a:gd name="T67" fmla="*/ 306 h 516"/>
                      <a:gd name="T68" fmla="*/ 64 w 1107"/>
                      <a:gd name="T69" fmla="*/ 270 h 516"/>
                      <a:gd name="T70" fmla="*/ 21 w 1107"/>
                      <a:gd name="T71" fmla="*/ 270 h 516"/>
                      <a:gd name="T72" fmla="*/ 12 w 1107"/>
                      <a:gd name="T73" fmla="*/ 235 h 516"/>
                      <a:gd name="T74" fmla="*/ 28 w 1107"/>
                      <a:gd name="T75" fmla="*/ 230 h 516"/>
                      <a:gd name="T76" fmla="*/ 31 w 1107"/>
                      <a:gd name="T77" fmla="*/ 194 h 516"/>
                      <a:gd name="T78" fmla="*/ 24 w 1107"/>
                      <a:gd name="T79" fmla="*/ 149 h 516"/>
                      <a:gd name="T80" fmla="*/ 45 w 1107"/>
                      <a:gd name="T81" fmla="*/ 60 h 516"/>
                      <a:gd name="T82" fmla="*/ 80 w 1107"/>
                      <a:gd name="T83" fmla="*/ 36 h 516"/>
                      <a:gd name="T84" fmla="*/ 109 w 1107"/>
                      <a:gd name="T85" fmla="*/ 48 h 516"/>
                      <a:gd name="T86" fmla="*/ 149 w 1107"/>
                      <a:gd name="T87" fmla="*/ 41 h 516"/>
                      <a:gd name="T88" fmla="*/ 182 w 1107"/>
                      <a:gd name="T89" fmla="*/ 29 h 516"/>
                      <a:gd name="T90" fmla="*/ 241 w 1107"/>
                      <a:gd name="T91" fmla="*/ 57 h 516"/>
                      <a:gd name="T92" fmla="*/ 357 w 1107"/>
                      <a:gd name="T93" fmla="*/ 86 h 516"/>
                      <a:gd name="T94" fmla="*/ 438 w 1107"/>
                      <a:gd name="T95" fmla="*/ 52 h 516"/>
                      <a:gd name="T96" fmla="*/ 449 w 1107"/>
                      <a:gd name="T97" fmla="*/ 69 h 516"/>
                      <a:gd name="T98" fmla="*/ 516 w 1107"/>
                      <a:gd name="T99" fmla="*/ 64 h 516"/>
                      <a:gd name="T100" fmla="*/ 570 w 1107"/>
                      <a:gd name="T101" fmla="*/ 57 h 516"/>
                      <a:gd name="T102" fmla="*/ 648 w 1107"/>
                      <a:gd name="T103" fmla="*/ 41 h 516"/>
                      <a:gd name="T104" fmla="*/ 736 w 1107"/>
                      <a:gd name="T105" fmla="*/ 36 h 516"/>
                      <a:gd name="T106" fmla="*/ 785 w 1107"/>
                      <a:gd name="T107" fmla="*/ 5 h 516"/>
                      <a:gd name="T108" fmla="*/ 854 w 1107"/>
                      <a:gd name="T109" fmla="*/ 8 h 516"/>
                      <a:gd name="T110" fmla="*/ 889 w 1107"/>
                      <a:gd name="T111" fmla="*/ 15 h 516"/>
                      <a:gd name="T112" fmla="*/ 906 w 1107"/>
                      <a:gd name="T113" fmla="*/ 17 h 516"/>
                      <a:gd name="T114" fmla="*/ 920 w 1107"/>
                      <a:gd name="T115" fmla="*/ 41 h 5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1107" h="516">
                        <a:moveTo>
                          <a:pt x="930" y="55"/>
                        </a:moveTo>
                        <a:lnTo>
                          <a:pt x="930" y="55"/>
                        </a:lnTo>
                        <a:lnTo>
                          <a:pt x="934" y="57"/>
                        </a:lnTo>
                        <a:lnTo>
                          <a:pt x="944" y="64"/>
                        </a:lnTo>
                        <a:lnTo>
                          <a:pt x="939" y="64"/>
                        </a:lnTo>
                        <a:lnTo>
                          <a:pt x="934" y="60"/>
                        </a:lnTo>
                        <a:lnTo>
                          <a:pt x="930" y="57"/>
                        </a:lnTo>
                        <a:lnTo>
                          <a:pt x="920" y="50"/>
                        </a:lnTo>
                        <a:lnTo>
                          <a:pt x="916" y="45"/>
                        </a:lnTo>
                        <a:lnTo>
                          <a:pt x="911" y="48"/>
                        </a:lnTo>
                        <a:lnTo>
                          <a:pt x="906" y="55"/>
                        </a:lnTo>
                        <a:lnTo>
                          <a:pt x="906" y="57"/>
                        </a:lnTo>
                        <a:lnTo>
                          <a:pt x="908" y="57"/>
                        </a:lnTo>
                        <a:lnTo>
                          <a:pt x="906" y="88"/>
                        </a:lnTo>
                        <a:lnTo>
                          <a:pt x="906" y="105"/>
                        </a:lnTo>
                        <a:lnTo>
                          <a:pt x="911" y="123"/>
                        </a:lnTo>
                        <a:lnTo>
                          <a:pt x="918" y="135"/>
                        </a:lnTo>
                        <a:lnTo>
                          <a:pt x="920" y="142"/>
                        </a:lnTo>
                        <a:lnTo>
                          <a:pt x="923" y="145"/>
                        </a:lnTo>
                        <a:lnTo>
                          <a:pt x="925" y="149"/>
                        </a:lnTo>
                        <a:lnTo>
                          <a:pt x="927" y="178"/>
                        </a:lnTo>
                        <a:lnTo>
                          <a:pt x="932" y="197"/>
                        </a:lnTo>
                        <a:lnTo>
                          <a:pt x="946" y="239"/>
                        </a:lnTo>
                        <a:lnTo>
                          <a:pt x="951" y="249"/>
                        </a:lnTo>
                        <a:lnTo>
                          <a:pt x="951" y="251"/>
                        </a:lnTo>
                        <a:lnTo>
                          <a:pt x="953" y="254"/>
                        </a:lnTo>
                        <a:lnTo>
                          <a:pt x="958" y="261"/>
                        </a:lnTo>
                        <a:lnTo>
                          <a:pt x="958" y="261"/>
                        </a:lnTo>
                        <a:lnTo>
                          <a:pt x="960" y="270"/>
                        </a:lnTo>
                        <a:lnTo>
                          <a:pt x="965" y="280"/>
                        </a:lnTo>
                        <a:lnTo>
                          <a:pt x="972" y="294"/>
                        </a:lnTo>
                        <a:lnTo>
                          <a:pt x="979" y="303"/>
                        </a:lnTo>
                        <a:lnTo>
                          <a:pt x="991" y="315"/>
                        </a:lnTo>
                        <a:lnTo>
                          <a:pt x="1005" y="325"/>
                        </a:lnTo>
                        <a:lnTo>
                          <a:pt x="1013" y="336"/>
                        </a:lnTo>
                        <a:lnTo>
                          <a:pt x="1024" y="343"/>
                        </a:lnTo>
                        <a:lnTo>
                          <a:pt x="1036" y="351"/>
                        </a:lnTo>
                        <a:lnTo>
                          <a:pt x="1043" y="353"/>
                        </a:lnTo>
                        <a:lnTo>
                          <a:pt x="1065" y="374"/>
                        </a:lnTo>
                        <a:lnTo>
                          <a:pt x="1076" y="381"/>
                        </a:lnTo>
                        <a:lnTo>
                          <a:pt x="1086" y="388"/>
                        </a:lnTo>
                        <a:lnTo>
                          <a:pt x="1093" y="391"/>
                        </a:lnTo>
                        <a:lnTo>
                          <a:pt x="1105" y="393"/>
                        </a:lnTo>
                        <a:lnTo>
                          <a:pt x="1105" y="393"/>
                        </a:lnTo>
                        <a:lnTo>
                          <a:pt x="1105" y="398"/>
                        </a:lnTo>
                        <a:lnTo>
                          <a:pt x="1102" y="407"/>
                        </a:lnTo>
                        <a:lnTo>
                          <a:pt x="1102" y="412"/>
                        </a:lnTo>
                        <a:lnTo>
                          <a:pt x="1102" y="412"/>
                        </a:lnTo>
                        <a:lnTo>
                          <a:pt x="1102" y="414"/>
                        </a:lnTo>
                        <a:lnTo>
                          <a:pt x="1105" y="417"/>
                        </a:lnTo>
                        <a:lnTo>
                          <a:pt x="1105" y="417"/>
                        </a:lnTo>
                        <a:lnTo>
                          <a:pt x="1105" y="422"/>
                        </a:lnTo>
                        <a:lnTo>
                          <a:pt x="1107" y="422"/>
                        </a:lnTo>
                        <a:lnTo>
                          <a:pt x="1107" y="424"/>
                        </a:lnTo>
                        <a:lnTo>
                          <a:pt x="1107" y="424"/>
                        </a:lnTo>
                        <a:lnTo>
                          <a:pt x="1105" y="431"/>
                        </a:lnTo>
                        <a:lnTo>
                          <a:pt x="1105" y="433"/>
                        </a:lnTo>
                        <a:lnTo>
                          <a:pt x="1102" y="436"/>
                        </a:lnTo>
                        <a:lnTo>
                          <a:pt x="1102" y="436"/>
                        </a:lnTo>
                        <a:lnTo>
                          <a:pt x="1095" y="440"/>
                        </a:lnTo>
                        <a:lnTo>
                          <a:pt x="1095" y="440"/>
                        </a:lnTo>
                        <a:lnTo>
                          <a:pt x="1095" y="443"/>
                        </a:lnTo>
                        <a:lnTo>
                          <a:pt x="1093" y="443"/>
                        </a:lnTo>
                        <a:lnTo>
                          <a:pt x="1093" y="445"/>
                        </a:lnTo>
                        <a:lnTo>
                          <a:pt x="1093" y="448"/>
                        </a:lnTo>
                        <a:lnTo>
                          <a:pt x="1093" y="450"/>
                        </a:lnTo>
                        <a:lnTo>
                          <a:pt x="1091" y="450"/>
                        </a:lnTo>
                        <a:lnTo>
                          <a:pt x="1091" y="450"/>
                        </a:lnTo>
                        <a:lnTo>
                          <a:pt x="1088" y="452"/>
                        </a:lnTo>
                        <a:lnTo>
                          <a:pt x="1079" y="452"/>
                        </a:lnTo>
                        <a:lnTo>
                          <a:pt x="1076" y="452"/>
                        </a:lnTo>
                        <a:lnTo>
                          <a:pt x="1074" y="452"/>
                        </a:lnTo>
                        <a:lnTo>
                          <a:pt x="1072" y="450"/>
                        </a:lnTo>
                        <a:lnTo>
                          <a:pt x="1072" y="448"/>
                        </a:lnTo>
                        <a:lnTo>
                          <a:pt x="1067" y="443"/>
                        </a:lnTo>
                        <a:lnTo>
                          <a:pt x="1067" y="440"/>
                        </a:lnTo>
                        <a:lnTo>
                          <a:pt x="1065" y="436"/>
                        </a:lnTo>
                        <a:lnTo>
                          <a:pt x="1062" y="433"/>
                        </a:lnTo>
                        <a:lnTo>
                          <a:pt x="1060" y="433"/>
                        </a:lnTo>
                        <a:lnTo>
                          <a:pt x="1060" y="433"/>
                        </a:lnTo>
                        <a:lnTo>
                          <a:pt x="1057" y="436"/>
                        </a:lnTo>
                        <a:lnTo>
                          <a:pt x="1055" y="436"/>
                        </a:lnTo>
                        <a:lnTo>
                          <a:pt x="1055" y="438"/>
                        </a:lnTo>
                        <a:lnTo>
                          <a:pt x="1055" y="440"/>
                        </a:lnTo>
                        <a:lnTo>
                          <a:pt x="1055" y="440"/>
                        </a:lnTo>
                        <a:lnTo>
                          <a:pt x="1055" y="443"/>
                        </a:lnTo>
                        <a:lnTo>
                          <a:pt x="1053" y="443"/>
                        </a:lnTo>
                        <a:lnTo>
                          <a:pt x="1053" y="443"/>
                        </a:lnTo>
                        <a:lnTo>
                          <a:pt x="1050" y="443"/>
                        </a:lnTo>
                        <a:lnTo>
                          <a:pt x="1050" y="440"/>
                        </a:lnTo>
                        <a:lnTo>
                          <a:pt x="1048" y="438"/>
                        </a:lnTo>
                        <a:lnTo>
                          <a:pt x="1048" y="436"/>
                        </a:lnTo>
                        <a:lnTo>
                          <a:pt x="1048" y="433"/>
                        </a:lnTo>
                        <a:lnTo>
                          <a:pt x="1046" y="431"/>
                        </a:lnTo>
                        <a:lnTo>
                          <a:pt x="1046" y="431"/>
                        </a:lnTo>
                        <a:lnTo>
                          <a:pt x="1031" y="426"/>
                        </a:lnTo>
                        <a:lnTo>
                          <a:pt x="1027" y="424"/>
                        </a:lnTo>
                        <a:lnTo>
                          <a:pt x="1029" y="419"/>
                        </a:lnTo>
                        <a:lnTo>
                          <a:pt x="1029" y="412"/>
                        </a:lnTo>
                        <a:lnTo>
                          <a:pt x="1027" y="405"/>
                        </a:lnTo>
                        <a:lnTo>
                          <a:pt x="1024" y="403"/>
                        </a:lnTo>
                        <a:lnTo>
                          <a:pt x="1015" y="405"/>
                        </a:lnTo>
                        <a:lnTo>
                          <a:pt x="1005" y="410"/>
                        </a:lnTo>
                        <a:lnTo>
                          <a:pt x="1003" y="414"/>
                        </a:lnTo>
                        <a:lnTo>
                          <a:pt x="996" y="412"/>
                        </a:lnTo>
                        <a:lnTo>
                          <a:pt x="996" y="412"/>
                        </a:lnTo>
                        <a:lnTo>
                          <a:pt x="991" y="412"/>
                        </a:lnTo>
                        <a:lnTo>
                          <a:pt x="979" y="419"/>
                        </a:lnTo>
                        <a:lnTo>
                          <a:pt x="979" y="419"/>
                        </a:lnTo>
                        <a:lnTo>
                          <a:pt x="977" y="419"/>
                        </a:lnTo>
                        <a:lnTo>
                          <a:pt x="972" y="422"/>
                        </a:lnTo>
                        <a:lnTo>
                          <a:pt x="968" y="429"/>
                        </a:lnTo>
                        <a:lnTo>
                          <a:pt x="956" y="438"/>
                        </a:lnTo>
                        <a:lnTo>
                          <a:pt x="953" y="438"/>
                        </a:lnTo>
                        <a:lnTo>
                          <a:pt x="951" y="438"/>
                        </a:lnTo>
                        <a:lnTo>
                          <a:pt x="951" y="438"/>
                        </a:lnTo>
                        <a:lnTo>
                          <a:pt x="939" y="440"/>
                        </a:lnTo>
                        <a:lnTo>
                          <a:pt x="939" y="440"/>
                        </a:lnTo>
                        <a:lnTo>
                          <a:pt x="934" y="438"/>
                        </a:lnTo>
                        <a:lnTo>
                          <a:pt x="932" y="438"/>
                        </a:lnTo>
                        <a:lnTo>
                          <a:pt x="932" y="438"/>
                        </a:lnTo>
                        <a:lnTo>
                          <a:pt x="932" y="438"/>
                        </a:lnTo>
                        <a:lnTo>
                          <a:pt x="930" y="440"/>
                        </a:lnTo>
                        <a:lnTo>
                          <a:pt x="930" y="443"/>
                        </a:lnTo>
                        <a:lnTo>
                          <a:pt x="932" y="445"/>
                        </a:lnTo>
                        <a:lnTo>
                          <a:pt x="932" y="452"/>
                        </a:lnTo>
                        <a:lnTo>
                          <a:pt x="932" y="455"/>
                        </a:lnTo>
                        <a:lnTo>
                          <a:pt x="932" y="481"/>
                        </a:lnTo>
                        <a:lnTo>
                          <a:pt x="930" y="485"/>
                        </a:lnTo>
                        <a:lnTo>
                          <a:pt x="925" y="493"/>
                        </a:lnTo>
                        <a:lnTo>
                          <a:pt x="925" y="497"/>
                        </a:lnTo>
                        <a:lnTo>
                          <a:pt x="923" y="514"/>
                        </a:lnTo>
                        <a:lnTo>
                          <a:pt x="918" y="516"/>
                        </a:lnTo>
                        <a:lnTo>
                          <a:pt x="913" y="516"/>
                        </a:lnTo>
                        <a:lnTo>
                          <a:pt x="882" y="514"/>
                        </a:lnTo>
                        <a:lnTo>
                          <a:pt x="878" y="511"/>
                        </a:lnTo>
                        <a:lnTo>
                          <a:pt x="871" y="507"/>
                        </a:lnTo>
                        <a:lnTo>
                          <a:pt x="866" y="502"/>
                        </a:lnTo>
                        <a:lnTo>
                          <a:pt x="854" y="500"/>
                        </a:lnTo>
                        <a:lnTo>
                          <a:pt x="852" y="500"/>
                        </a:lnTo>
                        <a:lnTo>
                          <a:pt x="837" y="500"/>
                        </a:lnTo>
                        <a:lnTo>
                          <a:pt x="835" y="500"/>
                        </a:lnTo>
                        <a:lnTo>
                          <a:pt x="833" y="500"/>
                        </a:lnTo>
                        <a:lnTo>
                          <a:pt x="830" y="497"/>
                        </a:lnTo>
                        <a:lnTo>
                          <a:pt x="826" y="495"/>
                        </a:lnTo>
                        <a:lnTo>
                          <a:pt x="823" y="493"/>
                        </a:lnTo>
                        <a:lnTo>
                          <a:pt x="821" y="490"/>
                        </a:lnTo>
                        <a:lnTo>
                          <a:pt x="804" y="483"/>
                        </a:lnTo>
                        <a:lnTo>
                          <a:pt x="802" y="481"/>
                        </a:lnTo>
                        <a:lnTo>
                          <a:pt x="797" y="478"/>
                        </a:lnTo>
                        <a:lnTo>
                          <a:pt x="795" y="464"/>
                        </a:lnTo>
                        <a:lnTo>
                          <a:pt x="792" y="462"/>
                        </a:lnTo>
                        <a:lnTo>
                          <a:pt x="792" y="459"/>
                        </a:lnTo>
                        <a:lnTo>
                          <a:pt x="790" y="459"/>
                        </a:lnTo>
                        <a:lnTo>
                          <a:pt x="788" y="457"/>
                        </a:lnTo>
                        <a:lnTo>
                          <a:pt x="785" y="457"/>
                        </a:lnTo>
                        <a:lnTo>
                          <a:pt x="785" y="455"/>
                        </a:lnTo>
                        <a:lnTo>
                          <a:pt x="785" y="448"/>
                        </a:lnTo>
                        <a:lnTo>
                          <a:pt x="785" y="445"/>
                        </a:lnTo>
                        <a:lnTo>
                          <a:pt x="783" y="445"/>
                        </a:lnTo>
                        <a:lnTo>
                          <a:pt x="776" y="440"/>
                        </a:lnTo>
                        <a:lnTo>
                          <a:pt x="774" y="438"/>
                        </a:lnTo>
                        <a:lnTo>
                          <a:pt x="774" y="436"/>
                        </a:lnTo>
                        <a:lnTo>
                          <a:pt x="774" y="433"/>
                        </a:lnTo>
                        <a:lnTo>
                          <a:pt x="774" y="431"/>
                        </a:lnTo>
                        <a:lnTo>
                          <a:pt x="771" y="426"/>
                        </a:lnTo>
                        <a:lnTo>
                          <a:pt x="771" y="424"/>
                        </a:lnTo>
                        <a:lnTo>
                          <a:pt x="774" y="424"/>
                        </a:lnTo>
                        <a:lnTo>
                          <a:pt x="774" y="422"/>
                        </a:lnTo>
                        <a:lnTo>
                          <a:pt x="778" y="422"/>
                        </a:lnTo>
                        <a:lnTo>
                          <a:pt x="781" y="419"/>
                        </a:lnTo>
                        <a:lnTo>
                          <a:pt x="781" y="419"/>
                        </a:lnTo>
                        <a:lnTo>
                          <a:pt x="783" y="414"/>
                        </a:lnTo>
                        <a:lnTo>
                          <a:pt x="783" y="412"/>
                        </a:lnTo>
                        <a:lnTo>
                          <a:pt x="785" y="407"/>
                        </a:lnTo>
                        <a:lnTo>
                          <a:pt x="790" y="400"/>
                        </a:lnTo>
                        <a:lnTo>
                          <a:pt x="790" y="398"/>
                        </a:lnTo>
                        <a:lnTo>
                          <a:pt x="790" y="393"/>
                        </a:lnTo>
                        <a:lnTo>
                          <a:pt x="790" y="388"/>
                        </a:lnTo>
                        <a:lnTo>
                          <a:pt x="792" y="381"/>
                        </a:lnTo>
                        <a:lnTo>
                          <a:pt x="792" y="379"/>
                        </a:lnTo>
                        <a:lnTo>
                          <a:pt x="795" y="377"/>
                        </a:lnTo>
                        <a:lnTo>
                          <a:pt x="795" y="374"/>
                        </a:lnTo>
                        <a:lnTo>
                          <a:pt x="792" y="372"/>
                        </a:lnTo>
                        <a:lnTo>
                          <a:pt x="792" y="372"/>
                        </a:lnTo>
                        <a:lnTo>
                          <a:pt x="790" y="372"/>
                        </a:lnTo>
                        <a:lnTo>
                          <a:pt x="788" y="372"/>
                        </a:lnTo>
                        <a:lnTo>
                          <a:pt x="785" y="372"/>
                        </a:lnTo>
                        <a:lnTo>
                          <a:pt x="776" y="374"/>
                        </a:lnTo>
                        <a:lnTo>
                          <a:pt x="774" y="377"/>
                        </a:lnTo>
                        <a:lnTo>
                          <a:pt x="766" y="381"/>
                        </a:lnTo>
                        <a:lnTo>
                          <a:pt x="764" y="381"/>
                        </a:lnTo>
                        <a:lnTo>
                          <a:pt x="759" y="384"/>
                        </a:lnTo>
                        <a:lnTo>
                          <a:pt x="750" y="381"/>
                        </a:lnTo>
                        <a:lnTo>
                          <a:pt x="748" y="381"/>
                        </a:lnTo>
                        <a:lnTo>
                          <a:pt x="745" y="379"/>
                        </a:lnTo>
                        <a:lnTo>
                          <a:pt x="745" y="379"/>
                        </a:lnTo>
                        <a:lnTo>
                          <a:pt x="745" y="377"/>
                        </a:lnTo>
                        <a:lnTo>
                          <a:pt x="748" y="377"/>
                        </a:lnTo>
                        <a:lnTo>
                          <a:pt x="750" y="372"/>
                        </a:lnTo>
                        <a:lnTo>
                          <a:pt x="750" y="370"/>
                        </a:lnTo>
                        <a:lnTo>
                          <a:pt x="752" y="370"/>
                        </a:lnTo>
                        <a:lnTo>
                          <a:pt x="750" y="367"/>
                        </a:lnTo>
                        <a:lnTo>
                          <a:pt x="748" y="365"/>
                        </a:lnTo>
                        <a:lnTo>
                          <a:pt x="743" y="362"/>
                        </a:lnTo>
                        <a:lnTo>
                          <a:pt x="740" y="362"/>
                        </a:lnTo>
                        <a:lnTo>
                          <a:pt x="738" y="362"/>
                        </a:lnTo>
                        <a:lnTo>
                          <a:pt x="738" y="362"/>
                        </a:lnTo>
                        <a:lnTo>
                          <a:pt x="736" y="365"/>
                        </a:lnTo>
                        <a:lnTo>
                          <a:pt x="736" y="365"/>
                        </a:lnTo>
                        <a:lnTo>
                          <a:pt x="733" y="367"/>
                        </a:lnTo>
                        <a:lnTo>
                          <a:pt x="733" y="367"/>
                        </a:lnTo>
                        <a:lnTo>
                          <a:pt x="722" y="370"/>
                        </a:lnTo>
                        <a:lnTo>
                          <a:pt x="717" y="367"/>
                        </a:lnTo>
                        <a:lnTo>
                          <a:pt x="712" y="365"/>
                        </a:lnTo>
                        <a:lnTo>
                          <a:pt x="700" y="355"/>
                        </a:lnTo>
                        <a:lnTo>
                          <a:pt x="698" y="351"/>
                        </a:lnTo>
                        <a:lnTo>
                          <a:pt x="695" y="348"/>
                        </a:lnTo>
                        <a:lnTo>
                          <a:pt x="695" y="346"/>
                        </a:lnTo>
                        <a:lnTo>
                          <a:pt x="693" y="346"/>
                        </a:lnTo>
                        <a:lnTo>
                          <a:pt x="688" y="343"/>
                        </a:lnTo>
                        <a:lnTo>
                          <a:pt x="686" y="343"/>
                        </a:lnTo>
                        <a:lnTo>
                          <a:pt x="684" y="343"/>
                        </a:lnTo>
                        <a:lnTo>
                          <a:pt x="681" y="343"/>
                        </a:lnTo>
                        <a:lnTo>
                          <a:pt x="681" y="346"/>
                        </a:lnTo>
                        <a:lnTo>
                          <a:pt x="679" y="346"/>
                        </a:lnTo>
                        <a:lnTo>
                          <a:pt x="679" y="348"/>
                        </a:lnTo>
                        <a:lnTo>
                          <a:pt x="677" y="353"/>
                        </a:lnTo>
                        <a:lnTo>
                          <a:pt x="677" y="355"/>
                        </a:lnTo>
                        <a:lnTo>
                          <a:pt x="677" y="355"/>
                        </a:lnTo>
                        <a:lnTo>
                          <a:pt x="672" y="355"/>
                        </a:lnTo>
                        <a:lnTo>
                          <a:pt x="667" y="358"/>
                        </a:lnTo>
                        <a:lnTo>
                          <a:pt x="665" y="358"/>
                        </a:lnTo>
                        <a:lnTo>
                          <a:pt x="665" y="360"/>
                        </a:lnTo>
                        <a:lnTo>
                          <a:pt x="662" y="360"/>
                        </a:lnTo>
                        <a:lnTo>
                          <a:pt x="662" y="362"/>
                        </a:lnTo>
                        <a:lnTo>
                          <a:pt x="662" y="365"/>
                        </a:lnTo>
                        <a:lnTo>
                          <a:pt x="653" y="374"/>
                        </a:lnTo>
                        <a:lnTo>
                          <a:pt x="651" y="377"/>
                        </a:lnTo>
                        <a:lnTo>
                          <a:pt x="629" y="384"/>
                        </a:lnTo>
                        <a:lnTo>
                          <a:pt x="627" y="386"/>
                        </a:lnTo>
                        <a:lnTo>
                          <a:pt x="627" y="386"/>
                        </a:lnTo>
                        <a:lnTo>
                          <a:pt x="627" y="388"/>
                        </a:lnTo>
                        <a:lnTo>
                          <a:pt x="627" y="388"/>
                        </a:lnTo>
                        <a:lnTo>
                          <a:pt x="627" y="391"/>
                        </a:lnTo>
                        <a:lnTo>
                          <a:pt x="629" y="391"/>
                        </a:lnTo>
                        <a:lnTo>
                          <a:pt x="629" y="393"/>
                        </a:lnTo>
                        <a:lnTo>
                          <a:pt x="632" y="393"/>
                        </a:lnTo>
                        <a:lnTo>
                          <a:pt x="634" y="396"/>
                        </a:lnTo>
                        <a:lnTo>
                          <a:pt x="643" y="398"/>
                        </a:lnTo>
                        <a:lnTo>
                          <a:pt x="646" y="398"/>
                        </a:lnTo>
                        <a:lnTo>
                          <a:pt x="646" y="398"/>
                        </a:lnTo>
                        <a:lnTo>
                          <a:pt x="646" y="400"/>
                        </a:lnTo>
                        <a:lnTo>
                          <a:pt x="646" y="403"/>
                        </a:lnTo>
                        <a:lnTo>
                          <a:pt x="643" y="405"/>
                        </a:lnTo>
                        <a:lnTo>
                          <a:pt x="639" y="407"/>
                        </a:lnTo>
                        <a:lnTo>
                          <a:pt x="634" y="407"/>
                        </a:lnTo>
                        <a:lnTo>
                          <a:pt x="629" y="407"/>
                        </a:lnTo>
                        <a:lnTo>
                          <a:pt x="584" y="419"/>
                        </a:lnTo>
                        <a:lnTo>
                          <a:pt x="572" y="414"/>
                        </a:lnTo>
                        <a:lnTo>
                          <a:pt x="572" y="414"/>
                        </a:lnTo>
                        <a:lnTo>
                          <a:pt x="570" y="412"/>
                        </a:lnTo>
                        <a:lnTo>
                          <a:pt x="570" y="410"/>
                        </a:lnTo>
                        <a:lnTo>
                          <a:pt x="570" y="410"/>
                        </a:lnTo>
                        <a:lnTo>
                          <a:pt x="572" y="407"/>
                        </a:lnTo>
                        <a:lnTo>
                          <a:pt x="572" y="405"/>
                        </a:lnTo>
                        <a:lnTo>
                          <a:pt x="575" y="403"/>
                        </a:lnTo>
                        <a:lnTo>
                          <a:pt x="572" y="400"/>
                        </a:lnTo>
                        <a:lnTo>
                          <a:pt x="570" y="400"/>
                        </a:lnTo>
                        <a:lnTo>
                          <a:pt x="570" y="400"/>
                        </a:lnTo>
                        <a:lnTo>
                          <a:pt x="568" y="400"/>
                        </a:lnTo>
                        <a:lnTo>
                          <a:pt x="565" y="400"/>
                        </a:lnTo>
                        <a:lnTo>
                          <a:pt x="565" y="403"/>
                        </a:lnTo>
                        <a:lnTo>
                          <a:pt x="565" y="403"/>
                        </a:lnTo>
                        <a:lnTo>
                          <a:pt x="565" y="405"/>
                        </a:lnTo>
                        <a:lnTo>
                          <a:pt x="565" y="405"/>
                        </a:lnTo>
                        <a:lnTo>
                          <a:pt x="565" y="407"/>
                        </a:lnTo>
                        <a:lnTo>
                          <a:pt x="563" y="407"/>
                        </a:lnTo>
                        <a:lnTo>
                          <a:pt x="561" y="412"/>
                        </a:lnTo>
                        <a:lnTo>
                          <a:pt x="561" y="412"/>
                        </a:lnTo>
                        <a:lnTo>
                          <a:pt x="558" y="417"/>
                        </a:lnTo>
                        <a:lnTo>
                          <a:pt x="549" y="433"/>
                        </a:lnTo>
                        <a:lnTo>
                          <a:pt x="549" y="433"/>
                        </a:lnTo>
                        <a:lnTo>
                          <a:pt x="546" y="433"/>
                        </a:lnTo>
                        <a:lnTo>
                          <a:pt x="542" y="431"/>
                        </a:lnTo>
                        <a:lnTo>
                          <a:pt x="539" y="431"/>
                        </a:lnTo>
                        <a:lnTo>
                          <a:pt x="535" y="429"/>
                        </a:lnTo>
                        <a:lnTo>
                          <a:pt x="535" y="426"/>
                        </a:lnTo>
                        <a:lnTo>
                          <a:pt x="528" y="426"/>
                        </a:lnTo>
                        <a:lnTo>
                          <a:pt x="525" y="424"/>
                        </a:lnTo>
                        <a:lnTo>
                          <a:pt x="525" y="424"/>
                        </a:lnTo>
                        <a:lnTo>
                          <a:pt x="523" y="424"/>
                        </a:lnTo>
                        <a:lnTo>
                          <a:pt x="520" y="422"/>
                        </a:lnTo>
                        <a:lnTo>
                          <a:pt x="509" y="417"/>
                        </a:lnTo>
                        <a:lnTo>
                          <a:pt x="487" y="405"/>
                        </a:lnTo>
                        <a:lnTo>
                          <a:pt x="478" y="403"/>
                        </a:lnTo>
                        <a:lnTo>
                          <a:pt x="461" y="407"/>
                        </a:lnTo>
                        <a:lnTo>
                          <a:pt x="461" y="407"/>
                        </a:lnTo>
                        <a:lnTo>
                          <a:pt x="459" y="410"/>
                        </a:lnTo>
                        <a:lnTo>
                          <a:pt x="457" y="410"/>
                        </a:lnTo>
                        <a:lnTo>
                          <a:pt x="457" y="412"/>
                        </a:lnTo>
                        <a:lnTo>
                          <a:pt x="457" y="412"/>
                        </a:lnTo>
                        <a:lnTo>
                          <a:pt x="454" y="417"/>
                        </a:lnTo>
                        <a:lnTo>
                          <a:pt x="454" y="419"/>
                        </a:lnTo>
                        <a:lnTo>
                          <a:pt x="452" y="422"/>
                        </a:lnTo>
                        <a:lnTo>
                          <a:pt x="442" y="424"/>
                        </a:lnTo>
                        <a:lnTo>
                          <a:pt x="440" y="424"/>
                        </a:lnTo>
                        <a:lnTo>
                          <a:pt x="423" y="412"/>
                        </a:lnTo>
                        <a:lnTo>
                          <a:pt x="421" y="410"/>
                        </a:lnTo>
                        <a:lnTo>
                          <a:pt x="409" y="400"/>
                        </a:lnTo>
                        <a:lnTo>
                          <a:pt x="409" y="400"/>
                        </a:lnTo>
                        <a:lnTo>
                          <a:pt x="409" y="398"/>
                        </a:lnTo>
                        <a:lnTo>
                          <a:pt x="409" y="398"/>
                        </a:lnTo>
                        <a:lnTo>
                          <a:pt x="407" y="396"/>
                        </a:lnTo>
                        <a:lnTo>
                          <a:pt x="407" y="391"/>
                        </a:lnTo>
                        <a:lnTo>
                          <a:pt x="404" y="386"/>
                        </a:lnTo>
                        <a:lnTo>
                          <a:pt x="388" y="386"/>
                        </a:lnTo>
                        <a:lnTo>
                          <a:pt x="383" y="384"/>
                        </a:lnTo>
                        <a:lnTo>
                          <a:pt x="381" y="384"/>
                        </a:lnTo>
                        <a:lnTo>
                          <a:pt x="371" y="374"/>
                        </a:lnTo>
                        <a:lnTo>
                          <a:pt x="369" y="370"/>
                        </a:lnTo>
                        <a:lnTo>
                          <a:pt x="367" y="370"/>
                        </a:lnTo>
                        <a:lnTo>
                          <a:pt x="348" y="367"/>
                        </a:lnTo>
                        <a:lnTo>
                          <a:pt x="345" y="370"/>
                        </a:lnTo>
                        <a:lnTo>
                          <a:pt x="338" y="374"/>
                        </a:lnTo>
                        <a:lnTo>
                          <a:pt x="336" y="374"/>
                        </a:lnTo>
                        <a:lnTo>
                          <a:pt x="329" y="372"/>
                        </a:lnTo>
                        <a:lnTo>
                          <a:pt x="324" y="367"/>
                        </a:lnTo>
                        <a:lnTo>
                          <a:pt x="324" y="365"/>
                        </a:lnTo>
                        <a:lnTo>
                          <a:pt x="319" y="358"/>
                        </a:lnTo>
                        <a:lnTo>
                          <a:pt x="317" y="358"/>
                        </a:lnTo>
                        <a:lnTo>
                          <a:pt x="317" y="355"/>
                        </a:lnTo>
                        <a:lnTo>
                          <a:pt x="315" y="355"/>
                        </a:lnTo>
                        <a:lnTo>
                          <a:pt x="307" y="355"/>
                        </a:lnTo>
                        <a:lnTo>
                          <a:pt x="293" y="346"/>
                        </a:lnTo>
                        <a:lnTo>
                          <a:pt x="281" y="348"/>
                        </a:lnTo>
                        <a:lnTo>
                          <a:pt x="277" y="348"/>
                        </a:lnTo>
                        <a:lnTo>
                          <a:pt x="274" y="343"/>
                        </a:lnTo>
                        <a:lnTo>
                          <a:pt x="272" y="341"/>
                        </a:lnTo>
                        <a:lnTo>
                          <a:pt x="270" y="341"/>
                        </a:lnTo>
                        <a:lnTo>
                          <a:pt x="251" y="327"/>
                        </a:lnTo>
                        <a:lnTo>
                          <a:pt x="248" y="325"/>
                        </a:lnTo>
                        <a:lnTo>
                          <a:pt x="248" y="322"/>
                        </a:lnTo>
                        <a:lnTo>
                          <a:pt x="248" y="322"/>
                        </a:lnTo>
                        <a:lnTo>
                          <a:pt x="248" y="320"/>
                        </a:lnTo>
                        <a:lnTo>
                          <a:pt x="253" y="320"/>
                        </a:lnTo>
                        <a:lnTo>
                          <a:pt x="253" y="317"/>
                        </a:lnTo>
                        <a:lnTo>
                          <a:pt x="253" y="315"/>
                        </a:lnTo>
                        <a:lnTo>
                          <a:pt x="251" y="313"/>
                        </a:lnTo>
                        <a:lnTo>
                          <a:pt x="248" y="310"/>
                        </a:lnTo>
                        <a:lnTo>
                          <a:pt x="248" y="310"/>
                        </a:lnTo>
                        <a:lnTo>
                          <a:pt x="229" y="303"/>
                        </a:lnTo>
                        <a:lnTo>
                          <a:pt x="218" y="301"/>
                        </a:lnTo>
                        <a:lnTo>
                          <a:pt x="208" y="299"/>
                        </a:lnTo>
                        <a:lnTo>
                          <a:pt x="206" y="301"/>
                        </a:lnTo>
                        <a:lnTo>
                          <a:pt x="206" y="301"/>
                        </a:lnTo>
                        <a:lnTo>
                          <a:pt x="203" y="301"/>
                        </a:lnTo>
                        <a:lnTo>
                          <a:pt x="201" y="303"/>
                        </a:lnTo>
                        <a:lnTo>
                          <a:pt x="196" y="308"/>
                        </a:lnTo>
                        <a:lnTo>
                          <a:pt x="192" y="317"/>
                        </a:lnTo>
                        <a:lnTo>
                          <a:pt x="184" y="327"/>
                        </a:lnTo>
                        <a:lnTo>
                          <a:pt x="182" y="334"/>
                        </a:lnTo>
                        <a:lnTo>
                          <a:pt x="180" y="336"/>
                        </a:lnTo>
                        <a:lnTo>
                          <a:pt x="180" y="336"/>
                        </a:lnTo>
                        <a:lnTo>
                          <a:pt x="180" y="341"/>
                        </a:lnTo>
                        <a:lnTo>
                          <a:pt x="180" y="343"/>
                        </a:lnTo>
                        <a:lnTo>
                          <a:pt x="177" y="343"/>
                        </a:lnTo>
                        <a:lnTo>
                          <a:pt x="177" y="346"/>
                        </a:lnTo>
                        <a:lnTo>
                          <a:pt x="168" y="348"/>
                        </a:lnTo>
                        <a:lnTo>
                          <a:pt x="163" y="351"/>
                        </a:lnTo>
                        <a:lnTo>
                          <a:pt x="163" y="351"/>
                        </a:lnTo>
                        <a:lnTo>
                          <a:pt x="161" y="353"/>
                        </a:lnTo>
                        <a:lnTo>
                          <a:pt x="161" y="353"/>
                        </a:lnTo>
                        <a:lnTo>
                          <a:pt x="161" y="355"/>
                        </a:lnTo>
                        <a:lnTo>
                          <a:pt x="161" y="358"/>
                        </a:lnTo>
                        <a:lnTo>
                          <a:pt x="163" y="360"/>
                        </a:lnTo>
                        <a:lnTo>
                          <a:pt x="156" y="355"/>
                        </a:lnTo>
                        <a:lnTo>
                          <a:pt x="154" y="348"/>
                        </a:lnTo>
                        <a:lnTo>
                          <a:pt x="151" y="343"/>
                        </a:lnTo>
                        <a:lnTo>
                          <a:pt x="149" y="341"/>
                        </a:lnTo>
                        <a:lnTo>
                          <a:pt x="149" y="339"/>
                        </a:lnTo>
                        <a:lnTo>
                          <a:pt x="132" y="334"/>
                        </a:lnTo>
                        <a:lnTo>
                          <a:pt x="130" y="332"/>
                        </a:lnTo>
                        <a:lnTo>
                          <a:pt x="123" y="334"/>
                        </a:lnTo>
                        <a:lnTo>
                          <a:pt x="118" y="334"/>
                        </a:lnTo>
                        <a:lnTo>
                          <a:pt x="113" y="334"/>
                        </a:lnTo>
                        <a:lnTo>
                          <a:pt x="106" y="334"/>
                        </a:lnTo>
                        <a:lnTo>
                          <a:pt x="104" y="336"/>
                        </a:lnTo>
                        <a:lnTo>
                          <a:pt x="102" y="339"/>
                        </a:lnTo>
                        <a:lnTo>
                          <a:pt x="102" y="339"/>
                        </a:lnTo>
                        <a:lnTo>
                          <a:pt x="99" y="341"/>
                        </a:lnTo>
                        <a:lnTo>
                          <a:pt x="99" y="341"/>
                        </a:lnTo>
                        <a:lnTo>
                          <a:pt x="95" y="343"/>
                        </a:lnTo>
                        <a:lnTo>
                          <a:pt x="87" y="346"/>
                        </a:lnTo>
                        <a:lnTo>
                          <a:pt x="85" y="346"/>
                        </a:lnTo>
                        <a:lnTo>
                          <a:pt x="83" y="343"/>
                        </a:lnTo>
                        <a:lnTo>
                          <a:pt x="83" y="341"/>
                        </a:lnTo>
                        <a:lnTo>
                          <a:pt x="83" y="339"/>
                        </a:lnTo>
                        <a:lnTo>
                          <a:pt x="83" y="336"/>
                        </a:lnTo>
                        <a:lnTo>
                          <a:pt x="83" y="334"/>
                        </a:lnTo>
                        <a:lnTo>
                          <a:pt x="85" y="320"/>
                        </a:lnTo>
                        <a:lnTo>
                          <a:pt x="85" y="320"/>
                        </a:lnTo>
                        <a:lnTo>
                          <a:pt x="85" y="317"/>
                        </a:lnTo>
                        <a:lnTo>
                          <a:pt x="87" y="317"/>
                        </a:lnTo>
                        <a:lnTo>
                          <a:pt x="87" y="315"/>
                        </a:lnTo>
                        <a:lnTo>
                          <a:pt x="90" y="315"/>
                        </a:lnTo>
                        <a:lnTo>
                          <a:pt x="92" y="313"/>
                        </a:lnTo>
                        <a:lnTo>
                          <a:pt x="95" y="306"/>
                        </a:lnTo>
                        <a:lnTo>
                          <a:pt x="95" y="303"/>
                        </a:lnTo>
                        <a:lnTo>
                          <a:pt x="95" y="301"/>
                        </a:lnTo>
                        <a:lnTo>
                          <a:pt x="95" y="294"/>
                        </a:lnTo>
                        <a:lnTo>
                          <a:pt x="92" y="282"/>
                        </a:lnTo>
                        <a:lnTo>
                          <a:pt x="90" y="280"/>
                        </a:lnTo>
                        <a:lnTo>
                          <a:pt x="76" y="277"/>
                        </a:lnTo>
                        <a:lnTo>
                          <a:pt x="73" y="275"/>
                        </a:lnTo>
                        <a:lnTo>
                          <a:pt x="71" y="273"/>
                        </a:lnTo>
                        <a:lnTo>
                          <a:pt x="69" y="268"/>
                        </a:lnTo>
                        <a:lnTo>
                          <a:pt x="66" y="268"/>
                        </a:lnTo>
                        <a:lnTo>
                          <a:pt x="64" y="268"/>
                        </a:lnTo>
                        <a:lnTo>
                          <a:pt x="64" y="270"/>
                        </a:lnTo>
                        <a:lnTo>
                          <a:pt x="61" y="273"/>
                        </a:lnTo>
                        <a:lnTo>
                          <a:pt x="59" y="275"/>
                        </a:lnTo>
                        <a:lnTo>
                          <a:pt x="57" y="275"/>
                        </a:lnTo>
                        <a:lnTo>
                          <a:pt x="52" y="275"/>
                        </a:lnTo>
                        <a:lnTo>
                          <a:pt x="50" y="275"/>
                        </a:lnTo>
                        <a:lnTo>
                          <a:pt x="47" y="275"/>
                        </a:lnTo>
                        <a:lnTo>
                          <a:pt x="47" y="275"/>
                        </a:lnTo>
                        <a:lnTo>
                          <a:pt x="33" y="268"/>
                        </a:lnTo>
                        <a:lnTo>
                          <a:pt x="31" y="265"/>
                        </a:lnTo>
                        <a:lnTo>
                          <a:pt x="28" y="265"/>
                        </a:lnTo>
                        <a:lnTo>
                          <a:pt x="24" y="268"/>
                        </a:lnTo>
                        <a:lnTo>
                          <a:pt x="21" y="270"/>
                        </a:lnTo>
                        <a:lnTo>
                          <a:pt x="21" y="270"/>
                        </a:lnTo>
                        <a:lnTo>
                          <a:pt x="19" y="270"/>
                        </a:lnTo>
                        <a:lnTo>
                          <a:pt x="16" y="265"/>
                        </a:lnTo>
                        <a:lnTo>
                          <a:pt x="14" y="265"/>
                        </a:lnTo>
                        <a:lnTo>
                          <a:pt x="12" y="263"/>
                        </a:lnTo>
                        <a:lnTo>
                          <a:pt x="9" y="263"/>
                        </a:lnTo>
                        <a:lnTo>
                          <a:pt x="7" y="265"/>
                        </a:lnTo>
                        <a:lnTo>
                          <a:pt x="2" y="268"/>
                        </a:lnTo>
                        <a:lnTo>
                          <a:pt x="0" y="239"/>
                        </a:lnTo>
                        <a:lnTo>
                          <a:pt x="9" y="239"/>
                        </a:lnTo>
                        <a:lnTo>
                          <a:pt x="12" y="237"/>
                        </a:lnTo>
                        <a:lnTo>
                          <a:pt x="12" y="235"/>
                        </a:lnTo>
                        <a:lnTo>
                          <a:pt x="12" y="232"/>
                        </a:lnTo>
                        <a:lnTo>
                          <a:pt x="12" y="228"/>
                        </a:lnTo>
                        <a:lnTo>
                          <a:pt x="12" y="225"/>
                        </a:lnTo>
                        <a:lnTo>
                          <a:pt x="12" y="223"/>
                        </a:lnTo>
                        <a:lnTo>
                          <a:pt x="12" y="223"/>
                        </a:lnTo>
                        <a:lnTo>
                          <a:pt x="14" y="223"/>
                        </a:lnTo>
                        <a:lnTo>
                          <a:pt x="14" y="225"/>
                        </a:lnTo>
                        <a:lnTo>
                          <a:pt x="16" y="228"/>
                        </a:lnTo>
                        <a:lnTo>
                          <a:pt x="19" y="230"/>
                        </a:lnTo>
                        <a:lnTo>
                          <a:pt x="21" y="230"/>
                        </a:lnTo>
                        <a:lnTo>
                          <a:pt x="26" y="230"/>
                        </a:lnTo>
                        <a:lnTo>
                          <a:pt x="28" y="230"/>
                        </a:lnTo>
                        <a:lnTo>
                          <a:pt x="31" y="230"/>
                        </a:lnTo>
                        <a:lnTo>
                          <a:pt x="33" y="228"/>
                        </a:lnTo>
                        <a:lnTo>
                          <a:pt x="33" y="225"/>
                        </a:lnTo>
                        <a:lnTo>
                          <a:pt x="35" y="223"/>
                        </a:lnTo>
                        <a:lnTo>
                          <a:pt x="35" y="220"/>
                        </a:lnTo>
                        <a:lnTo>
                          <a:pt x="33" y="220"/>
                        </a:lnTo>
                        <a:lnTo>
                          <a:pt x="33" y="213"/>
                        </a:lnTo>
                        <a:lnTo>
                          <a:pt x="28" y="206"/>
                        </a:lnTo>
                        <a:lnTo>
                          <a:pt x="28" y="204"/>
                        </a:lnTo>
                        <a:lnTo>
                          <a:pt x="26" y="202"/>
                        </a:lnTo>
                        <a:lnTo>
                          <a:pt x="28" y="199"/>
                        </a:lnTo>
                        <a:lnTo>
                          <a:pt x="31" y="194"/>
                        </a:lnTo>
                        <a:lnTo>
                          <a:pt x="35" y="180"/>
                        </a:lnTo>
                        <a:lnTo>
                          <a:pt x="38" y="173"/>
                        </a:lnTo>
                        <a:lnTo>
                          <a:pt x="38" y="161"/>
                        </a:lnTo>
                        <a:lnTo>
                          <a:pt x="38" y="159"/>
                        </a:lnTo>
                        <a:lnTo>
                          <a:pt x="38" y="157"/>
                        </a:lnTo>
                        <a:lnTo>
                          <a:pt x="38" y="157"/>
                        </a:lnTo>
                        <a:lnTo>
                          <a:pt x="35" y="154"/>
                        </a:lnTo>
                        <a:lnTo>
                          <a:pt x="35" y="154"/>
                        </a:lnTo>
                        <a:lnTo>
                          <a:pt x="33" y="152"/>
                        </a:lnTo>
                        <a:lnTo>
                          <a:pt x="26" y="152"/>
                        </a:lnTo>
                        <a:lnTo>
                          <a:pt x="24" y="149"/>
                        </a:lnTo>
                        <a:lnTo>
                          <a:pt x="24" y="149"/>
                        </a:lnTo>
                        <a:lnTo>
                          <a:pt x="21" y="147"/>
                        </a:lnTo>
                        <a:lnTo>
                          <a:pt x="21" y="147"/>
                        </a:lnTo>
                        <a:lnTo>
                          <a:pt x="19" y="145"/>
                        </a:lnTo>
                        <a:lnTo>
                          <a:pt x="19" y="142"/>
                        </a:lnTo>
                        <a:lnTo>
                          <a:pt x="19" y="138"/>
                        </a:lnTo>
                        <a:lnTo>
                          <a:pt x="19" y="135"/>
                        </a:lnTo>
                        <a:lnTo>
                          <a:pt x="19" y="133"/>
                        </a:lnTo>
                        <a:lnTo>
                          <a:pt x="21" y="128"/>
                        </a:lnTo>
                        <a:lnTo>
                          <a:pt x="21" y="123"/>
                        </a:lnTo>
                        <a:lnTo>
                          <a:pt x="35" y="79"/>
                        </a:lnTo>
                        <a:lnTo>
                          <a:pt x="42" y="62"/>
                        </a:lnTo>
                        <a:lnTo>
                          <a:pt x="45" y="60"/>
                        </a:lnTo>
                        <a:lnTo>
                          <a:pt x="45" y="52"/>
                        </a:lnTo>
                        <a:lnTo>
                          <a:pt x="59" y="52"/>
                        </a:lnTo>
                        <a:lnTo>
                          <a:pt x="66" y="50"/>
                        </a:lnTo>
                        <a:lnTo>
                          <a:pt x="69" y="50"/>
                        </a:lnTo>
                        <a:lnTo>
                          <a:pt x="71" y="50"/>
                        </a:lnTo>
                        <a:lnTo>
                          <a:pt x="78" y="55"/>
                        </a:lnTo>
                        <a:lnTo>
                          <a:pt x="80" y="55"/>
                        </a:lnTo>
                        <a:lnTo>
                          <a:pt x="83" y="50"/>
                        </a:lnTo>
                        <a:lnTo>
                          <a:pt x="80" y="45"/>
                        </a:lnTo>
                        <a:lnTo>
                          <a:pt x="80" y="43"/>
                        </a:lnTo>
                        <a:lnTo>
                          <a:pt x="78" y="38"/>
                        </a:lnTo>
                        <a:lnTo>
                          <a:pt x="80" y="36"/>
                        </a:lnTo>
                        <a:lnTo>
                          <a:pt x="83" y="34"/>
                        </a:lnTo>
                        <a:lnTo>
                          <a:pt x="85" y="36"/>
                        </a:lnTo>
                        <a:lnTo>
                          <a:pt x="90" y="43"/>
                        </a:lnTo>
                        <a:lnTo>
                          <a:pt x="95" y="43"/>
                        </a:lnTo>
                        <a:lnTo>
                          <a:pt x="97" y="41"/>
                        </a:lnTo>
                        <a:lnTo>
                          <a:pt x="102" y="36"/>
                        </a:lnTo>
                        <a:lnTo>
                          <a:pt x="104" y="34"/>
                        </a:lnTo>
                        <a:lnTo>
                          <a:pt x="109" y="36"/>
                        </a:lnTo>
                        <a:lnTo>
                          <a:pt x="109" y="36"/>
                        </a:lnTo>
                        <a:lnTo>
                          <a:pt x="109" y="38"/>
                        </a:lnTo>
                        <a:lnTo>
                          <a:pt x="109" y="41"/>
                        </a:lnTo>
                        <a:lnTo>
                          <a:pt x="109" y="48"/>
                        </a:lnTo>
                        <a:lnTo>
                          <a:pt x="109" y="48"/>
                        </a:lnTo>
                        <a:lnTo>
                          <a:pt x="113" y="50"/>
                        </a:lnTo>
                        <a:lnTo>
                          <a:pt x="123" y="55"/>
                        </a:lnTo>
                        <a:lnTo>
                          <a:pt x="135" y="55"/>
                        </a:lnTo>
                        <a:lnTo>
                          <a:pt x="144" y="50"/>
                        </a:lnTo>
                        <a:lnTo>
                          <a:pt x="142" y="38"/>
                        </a:lnTo>
                        <a:lnTo>
                          <a:pt x="144" y="38"/>
                        </a:lnTo>
                        <a:lnTo>
                          <a:pt x="144" y="38"/>
                        </a:lnTo>
                        <a:lnTo>
                          <a:pt x="144" y="38"/>
                        </a:lnTo>
                        <a:lnTo>
                          <a:pt x="144" y="36"/>
                        </a:lnTo>
                        <a:lnTo>
                          <a:pt x="147" y="36"/>
                        </a:lnTo>
                        <a:lnTo>
                          <a:pt x="149" y="41"/>
                        </a:lnTo>
                        <a:lnTo>
                          <a:pt x="161" y="45"/>
                        </a:lnTo>
                        <a:lnTo>
                          <a:pt x="166" y="50"/>
                        </a:lnTo>
                        <a:lnTo>
                          <a:pt x="166" y="52"/>
                        </a:lnTo>
                        <a:lnTo>
                          <a:pt x="168" y="52"/>
                        </a:lnTo>
                        <a:lnTo>
                          <a:pt x="170" y="50"/>
                        </a:lnTo>
                        <a:lnTo>
                          <a:pt x="170" y="45"/>
                        </a:lnTo>
                        <a:lnTo>
                          <a:pt x="166" y="41"/>
                        </a:lnTo>
                        <a:lnTo>
                          <a:pt x="168" y="38"/>
                        </a:lnTo>
                        <a:lnTo>
                          <a:pt x="182" y="41"/>
                        </a:lnTo>
                        <a:lnTo>
                          <a:pt x="187" y="41"/>
                        </a:lnTo>
                        <a:lnTo>
                          <a:pt x="187" y="36"/>
                        </a:lnTo>
                        <a:lnTo>
                          <a:pt x="182" y="29"/>
                        </a:lnTo>
                        <a:lnTo>
                          <a:pt x="180" y="22"/>
                        </a:lnTo>
                        <a:lnTo>
                          <a:pt x="187" y="19"/>
                        </a:lnTo>
                        <a:lnTo>
                          <a:pt x="192" y="24"/>
                        </a:lnTo>
                        <a:lnTo>
                          <a:pt x="192" y="34"/>
                        </a:lnTo>
                        <a:lnTo>
                          <a:pt x="210" y="22"/>
                        </a:lnTo>
                        <a:lnTo>
                          <a:pt x="215" y="22"/>
                        </a:lnTo>
                        <a:lnTo>
                          <a:pt x="218" y="24"/>
                        </a:lnTo>
                        <a:lnTo>
                          <a:pt x="222" y="29"/>
                        </a:lnTo>
                        <a:lnTo>
                          <a:pt x="225" y="29"/>
                        </a:lnTo>
                        <a:lnTo>
                          <a:pt x="225" y="34"/>
                        </a:lnTo>
                        <a:lnTo>
                          <a:pt x="232" y="45"/>
                        </a:lnTo>
                        <a:lnTo>
                          <a:pt x="241" y="57"/>
                        </a:lnTo>
                        <a:lnTo>
                          <a:pt x="251" y="57"/>
                        </a:lnTo>
                        <a:lnTo>
                          <a:pt x="263" y="52"/>
                        </a:lnTo>
                        <a:lnTo>
                          <a:pt x="274" y="48"/>
                        </a:lnTo>
                        <a:lnTo>
                          <a:pt x="286" y="50"/>
                        </a:lnTo>
                        <a:lnTo>
                          <a:pt x="319" y="67"/>
                        </a:lnTo>
                        <a:lnTo>
                          <a:pt x="326" y="69"/>
                        </a:lnTo>
                        <a:lnTo>
                          <a:pt x="331" y="69"/>
                        </a:lnTo>
                        <a:lnTo>
                          <a:pt x="336" y="67"/>
                        </a:lnTo>
                        <a:lnTo>
                          <a:pt x="341" y="64"/>
                        </a:lnTo>
                        <a:lnTo>
                          <a:pt x="345" y="67"/>
                        </a:lnTo>
                        <a:lnTo>
                          <a:pt x="352" y="79"/>
                        </a:lnTo>
                        <a:lnTo>
                          <a:pt x="357" y="86"/>
                        </a:lnTo>
                        <a:lnTo>
                          <a:pt x="369" y="90"/>
                        </a:lnTo>
                        <a:lnTo>
                          <a:pt x="381" y="90"/>
                        </a:lnTo>
                        <a:lnTo>
                          <a:pt x="395" y="90"/>
                        </a:lnTo>
                        <a:lnTo>
                          <a:pt x="404" y="86"/>
                        </a:lnTo>
                        <a:lnTo>
                          <a:pt x="414" y="76"/>
                        </a:lnTo>
                        <a:lnTo>
                          <a:pt x="421" y="64"/>
                        </a:lnTo>
                        <a:lnTo>
                          <a:pt x="426" y="55"/>
                        </a:lnTo>
                        <a:lnTo>
                          <a:pt x="428" y="52"/>
                        </a:lnTo>
                        <a:lnTo>
                          <a:pt x="430" y="52"/>
                        </a:lnTo>
                        <a:lnTo>
                          <a:pt x="430" y="55"/>
                        </a:lnTo>
                        <a:lnTo>
                          <a:pt x="433" y="55"/>
                        </a:lnTo>
                        <a:lnTo>
                          <a:pt x="438" y="52"/>
                        </a:lnTo>
                        <a:lnTo>
                          <a:pt x="442" y="52"/>
                        </a:lnTo>
                        <a:lnTo>
                          <a:pt x="442" y="52"/>
                        </a:lnTo>
                        <a:lnTo>
                          <a:pt x="447" y="57"/>
                        </a:lnTo>
                        <a:lnTo>
                          <a:pt x="449" y="57"/>
                        </a:lnTo>
                        <a:lnTo>
                          <a:pt x="449" y="57"/>
                        </a:lnTo>
                        <a:lnTo>
                          <a:pt x="449" y="60"/>
                        </a:lnTo>
                        <a:lnTo>
                          <a:pt x="452" y="60"/>
                        </a:lnTo>
                        <a:lnTo>
                          <a:pt x="452" y="62"/>
                        </a:lnTo>
                        <a:lnTo>
                          <a:pt x="452" y="64"/>
                        </a:lnTo>
                        <a:lnTo>
                          <a:pt x="449" y="64"/>
                        </a:lnTo>
                        <a:lnTo>
                          <a:pt x="449" y="67"/>
                        </a:lnTo>
                        <a:lnTo>
                          <a:pt x="449" y="69"/>
                        </a:lnTo>
                        <a:lnTo>
                          <a:pt x="452" y="69"/>
                        </a:lnTo>
                        <a:lnTo>
                          <a:pt x="452" y="69"/>
                        </a:lnTo>
                        <a:lnTo>
                          <a:pt x="483" y="74"/>
                        </a:lnTo>
                        <a:lnTo>
                          <a:pt x="483" y="74"/>
                        </a:lnTo>
                        <a:lnTo>
                          <a:pt x="487" y="74"/>
                        </a:lnTo>
                        <a:lnTo>
                          <a:pt x="487" y="76"/>
                        </a:lnTo>
                        <a:lnTo>
                          <a:pt x="492" y="79"/>
                        </a:lnTo>
                        <a:lnTo>
                          <a:pt x="499" y="74"/>
                        </a:lnTo>
                        <a:lnTo>
                          <a:pt x="504" y="71"/>
                        </a:lnTo>
                        <a:lnTo>
                          <a:pt x="504" y="69"/>
                        </a:lnTo>
                        <a:lnTo>
                          <a:pt x="506" y="69"/>
                        </a:lnTo>
                        <a:lnTo>
                          <a:pt x="516" y="64"/>
                        </a:lnTo>
                        <a:lnTo>
                          <a:pt x="518" y="64"/>
                        </a:lnTo>
                        <a:lnTo>
                          <a:pt x="518" y="62"/>
                        </a:lnTo>
                        <a:lnTo>
                          <a:pt x="520" y="60"/>
                        </a:lnTo>
                        <a:lnTo>
                          <a:pt x="520" y="57"/>
                        </a:lnTo>
                        <a:lnTo>
                          <a:pt x="520" y="57"/>
                        </a:lnTo>
                        <a:lnTo>
                          <a:pt x="523" y="57"/>
                        </a:lnTo>
                        <a:lnTo>
                          <a:pt x="546" y="50"/>
                        </a:lnTo>
                        <a:lnTo>
                          <a:pt x="549" y="50"/>
                        </a:lnTo>
                        <a:lnTo>
                          <a:pt x="565" y="52"/>
                        </a:lnTo>
                        <a:lnTo>
                          <a:pt x="565" y="55"/>
                        </a:lnTo>
                        <a:lnTo>
                          <a:pt x="568" y="55"/>
                        </a:lnTo>
                        <a:lnTo>
                          <a:pt x="570" y="57"/>
                        </a:lnTo>
                        <a:lnTo>
                          <a:pt x="572" y="60"/>
                        </a:lnTo>
                        <a:lnTo>
                          <a:pt x="577" y="57"/>
                        </a:lnTo>
                        <a:lnTo>
                          <a:pt x="598" y="48"/>
                        </a:lnTo>
                        <a:lnTo>
                          <a:pt x="603" y="50"/>
                        </a:lnTo>
                        <a:lnTo>
                          <a:pt x="606" y="50"/>
                        </a:lnTo>
                        <a:lnTo>
                          <a:pt x="608" y="48"/>
                        </a:lnTo>
                        <a:lnTo>
                          <a:pt x="608" y="43"/>
                        </a:lnTo>
                        <a:lnTo>
                          <a:pt x="608" y="43"/>
                        </a:lnTo>
                        <a:lnTo>
                          <a:pt x="610" y="41"/>
                        </a:lnTo>
                        <a:lnTo>
                          <a:pt x="610" y="41"/>
                        </a:lnTo>
                        <a:lnTo>
                          <a:pt x="632" y="38"/>
                        </a:lnTo>
                        <a:lnTo>
                          <a:pt x="648" y="41"/>
                        </a:lnTo>
                        <a:lnTo>
                          <a:pt x="651" y="45"/>
                        </a:lnTo>
                        <a:lnTo>
                          <a:pt x="655" y="43"/>
                        </a:lnTo>
                        <a:lnTo>
                          <a:pt x="667" y="41"/>
                        </a:lnTo>
                        <a:lnTo>
                          <a:pt x="674" y="38"/>
                        </a:lnTo>
                        <a:lnTo>
                          <a:pt x="679" y="41"/>
                        </a:lnTo>
                        <a:lnTo>
                          <a:pt x="688" y="43"/>
                        </a:lnTo>
                        <a:lnTo>
                          <a:pt x="705" y="55"/>
                        </a:lnTo>
                        <a:lnTo>
                          <a:pt x="710" y="55"/>
                        </a:lnTo>
                        <a:lnTo>
                          <a:pt x="714" y="52"/>
                        </a:lnTo>
                        <a:lnTo>
                          <a:pt x="719" y="48"/>
                        </a:lnTo>
                        <a:lnTo>
                          <a:pt x="724" y="41"/>
                        </a:lnTo>
                        <a:lnTo>
                          <a:pt x="736" y="36"/>
                        </a:lnTo>
                        <a:lnTo>
                          <a:pt x="740" y="31"/>
                        </a:lnTo>
                        <a:lnTo>
                          <a:pt x="740" y="26"/>
                        </a:lnTo>
                        <a:lnTo>
                          <a:pt x="743" y="24"/>
                        </a:lnTo>
                        <a:lnTo>
                          <a:pt x="745" y="22"/>
                        </a:lnTo>
                        <a:lnTo>
                          <a:pt x="750" y="19"/>
                        </a:lnTo>
                        <a:lnTo>
                          <a:pt x="752" y="19"/>
                        </a:lnTo>
                        <a:lnTo>
                          <a:pt x="755" y="17"/>
                        </a:lnTo>
                        <a:lnTo>
                          <a:pt x="755" y="12"/>
                        </a:lnTo>
                        <a:lnTo>
                          <a:pt x="757" y="12"/>
                        </a:lnTo>
                        <a:lnTo>
                          <a:pt x="764" y="10"/>
                        </a:lnTo>
                        <a:lnTo>
                          <a:pt x="778" y="5"/>
                        </a:lnTo>
                        <a:lnTo>
                          <a:pt x="785" y="5"/>
                        </a:lnTo>
                        <a:lnTo>
                          <a:pt x="790" y="5"/>
                        </a:lnTo>
                        <a:lnTo>
                          <a:pt x="795" y="5"/>
                        </a:lnTo>
                        <a:lnTo>
                          <a:pt x="795" y="5"/>
                        </a:lnTo>
                        <a:lnTo>
                          <a:pt x="807" y="0"/>
                        </a:lnTo>
                        <a:lnTo>
                          <a:pt x="809" y="0"/>
                        </a:lnTo>
                        <a:lnTo>
                          <a:pt x="811" y="0"/>
                        </a:lnTo>
                        <a:lnTo>
                          <a:pt x="814" y="0"/>
                        </a:lnTo>
                        <a:lnTo>
                          <a:pt x="842" y="3"/>
                        </a:lnTo>
                        <a:lnTo>
                          <a:pt x="849" y="3"/>
                        </a:lnTo>
                        <a:lnTo>
                          <a:pt x="852" y="5"/>
                        </a:lnTo>
                        <a:lnTo>
                          <a:pt x="854" y="8"/>
                        </a:lnTo>
                        <a:lnTo>
                          <a:pt x="854" y="8"/>
                        </a:lnTo>
                        <a:lnTo>
                          <a:pt x="856" y="12"/>
                        </a:lnTo>
                        <a:lnTo>
                          <a:pt x="856" y="12"/>
                        </a:lnTo>
                        <a:lnTo>
                          <a:pt x="859" y="15"/>
                        </a:lnTo>
                        <a:lnTo>
                          <a:pt x="863" y="15"/>
                        </a:lnTo>
                        <a:lnTo>
                          <a:pt x="866" y="15"/>
                        </a:lnTo>
                        <a:lnTo>
                          <a:pt x="868" y="15"/>
                        </a:lnTo>
                        <a:lnTo>
                          <a:pt x="868" y="12"/>
                        </a:lnTo>
                        <a:lnTo>
                          <a:pt x="871" y="12"/>
                        </a:lnTo>
                        <a:lnTo>
                          <a:pt x="875" y="15"/>
                        </a:lnTo>
                        <a:lnTo>
                          <a:pt x="885" y="15"/>
                        </a:lnTo>
                        <a:lnTo>
                          <a:pt x="887" y="15"/>
                        </a:lnTo>
                        <a:lnTo>
                          <a:pt x="889" y="15"/>
                        </a:lnTo>
                        <a:lnTo>
                          <a:pt x="889" y="12"/>
                        </a:lnTo>
                        <a:lnTo>
                          <a:pt x="889" y="12"/>
                        </a:lnTo>
                        <a:lnTo>
                          <a:pt x="892" y="12"/>
                        </a:lnTo>
                        <a:lnTo>
                          <a:pt x="899" y="8"/>
                        </a:lnTo>
                        <a:lnTo>
                          <a:pt x="901" y="8"/>
                        </a:lnTo>
                        <a:lnTo>
                          <a:pt x="904" y="8"/>
                        </a:lnTo>
                        <a:lnTo>
                          <a:pt x="906" y="10"/>
                        </a:lnTo>
                        <a:lnTo>
                          <a:pt x="906" y="10"/>
                        </a:lnTo>
                        <a:lnTo>
                          <a:pt x="906" y="12"/>
                        </a:lnTo>
                        <a:lnTo>
                          <a:pt x="906" y="12"/>
                        </a:lnTo>
                        <a:lnTo>
                          <a:pt x="906" y="15"/>
                        </a:lnTo>
                        <a:lnTo>
                          <a:pt x="906" y="17"/>
                        </a:lnTo>
                        <a:lnTo>
                          <a:pt x="906" y="17"/>
                        </a:lnTo>
                        <a:lnTo>
                          <a:pt x="906" y="19"/>
                        </a:lnTo>
                        <a:lnTo>
                          <a:pt x="906" y="22"/>
                        </a:lnTo>
                        <a:lnTo>
                          <a:pt x="906" y="22"/>
                        </a:lnTo>
                        <a:lnTo>
                          <a:pt x="906" y="26"/>
                        </a:lnTo>
                        <a:lnTo>
                          <a:pt x="908" y="31"/>
                        </a:lnTo>
                        <a:lnTo>
                          <a:pt x="908" y="36"/>
                        </a:lnTo>
                        <a:lnTo>
                          <a:pt x="911" y="36"/>
                        </a:lnTo>
                        <a:lnTo>
                          <a:pt x="911" y="38"/>
                        </a:lnTo>
                        <a:lnTo>
                          <a:pt x="911" y="38"/>
                        </a:lnTo>
                        <a:lnTo>
                          <a:pt x="913" y="41"/>
                        </a:lnTo>
                        <a:lnTo>
                          <a:pt x="920" y="41"/>
                        </a:lnTo>
                        <a:lnTo>
                          <a:pt x="923" y="41"/>
                        </a:lnTo>
                        <a:lnTo>
                          <a:pt x="925" y="43"/>
                        </a:lnTo>
                        <a:lnTo>
                          <a:pt x="925" y="43"/>
                        </a:lnTo>
                        <a:lnTo>
                          <a:pt x="927" y="45"/>
                        </a:lnTo>
                        <a:lnTo>
                          <a:pt x="927" y="45"/>
                        </a:lnTo>
                        <a:lnTo>
                          <a:pt x="927" y="48"/>
                        </a:lnTo>
                        <a:lnTo>
                          <a:pt x="927" y="50"/>
                        </a:lnTo>
                        <a:lnTo>
                          <a:pt x="927" y="52"/>
                        </a:lnTo>
                        <a:lnTo>
                          <a:pt x="930" y="55"/>
                        </a:lnTo>
                        <a:lnTo>
                          <a:pt x="930" y="55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26" name="Freeform 15">
                    <a:extLst>
                      <a:ext uri="{FF2B5EF4-FFF2-40B4-BE49-F238E27FC236}">
                        <a16:creationId xmlns:a16="http://schemas.microsoft.com/office/drawing/2014/main" id="{C132C160-FDC1-450B-ACC9-3641C2A8B74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13261" y="2661909"/>
                    <a:ext cx="983421" cy="541144"/>
                  </a:xfrm>
                  <a:custGeom>
                    <a:avLst/>
                    <a:gdLst>
                      <a:gd name="T0" fmla="*/ 752 w 773"/>
                      <a:gd name="T1" fmla="*/ 232 h 426"/>
                      <a:gd name="T2" fmla="*/ 702 w 773"/>
                      <a:gd name="T3" fmla="*/ 213 h 426"/>
                      <a:gd name="T4" fmla="*/ 712 w 773"/>
                      <a:gd name="T5" fmla="*/ 230 h 426"/>
                      <a:gd name="T6" fmla="*/ 688 w 773"/>
                      <a:gd name="T7" fmla="*/ 228 h 426"/>
                      <a:gd name="T8" fmla="*/ 624 w 773"/>
                      <a:gd name="T9" fmla="*/ 192 h 426"/>
                      <a:gd name="T10" fmla="*/ 579 w 773"/>
                      <a:gd name="T11" fmla="*/ 173 h 426"/>
                      <a:gd name="T12" fmla="*/ 506 w 773"/>
                      <a:gd name="T13" fmla="*/ 145 h 426"/>
                      <a:gd name="T14" fmla="*/ 416 w 773"/>
                      <a:gd name="T15" fmla="*/ 116 h 426"/>
                      <a:gd name="T16" fmla="*/ 347 w 773"/>
                      <a:gd name="T17" fmla="*/ 126 h 426"/>
                      <a:gd name="T18" fmla="*/ 302 w 773"/>
                      <a:gd name="T19" fmla="*/ 159 h 426"/>
                      <a:gd name="T20" fmla="*/ 269 w 773"/>
                      <a:gd name="T21" fmla="*/ 211 h 426"/>
                      <a:gd name="T22" fmla="*/ 227 w 773"/>
                      <a:gd name="T23" fmla="*/ 258 h 426"/>
                      <a:gd name="T24" fmla="*/ 208 w 773"/>
                      <a:gd name="T25" fmla="*/ 332 h 426"/>
                      <a:gd name="T26" fmla="*/ 175 w 773"/>
                      <a:gd name="T27" fmla="*/ 365 h 426"/>
                      <a:gd name="T28" fmla="*/ 16 w 773"/>
                      <a:gd name="T29" fmla="*/ 424 h 426"/>
                      <a:gd name="T30" fmla="*/ 42 w 773"/>
                      <a:gd name="T31" fmla="*/ 334 h 426"/>
                      <a:gd name="T32" fmla="*/ 61 w 773"/>
                      <a:gd name="T33" fmla="*/ 291 h 426"/>
                      <a:gd name="T34" fmla="*/ 68 w 773"/>
                      <a:gd name="T35" fmla="*/ 277 h 426"/>
                      <a:gd name="T36" fmla="*/ 85 w 773"/>
                      <a:gd name="T37" fmla="*/ 270 h 426"/>
                      <a:gd name="T38" fmla="*/ 149 w 773"/>
                      <a:gd name="T39" fmla="*/ 270 h 426"/>
                      <a:gd name="T40" fmla="*/ 144 w 773"/>
                      <a:gd name="T41" fmla="*/ 258 h 426"/>
                      <a:gd name="T42" fmla="*/ 163 w 773"/>
                      <a:gd name="T43" fmla="*/ 251 h 426"/>
                      <a:gd name="T44" fmla="*/ 168 w 773"/>
                      <a:gd name="T45" fmla="*/ 228 h 426"/>
                      <a:gd name="T46" fmla="*/ 165 w 773"/>
                      <a:gd name="T47" fmla="*/ 206 h 426"/>
                      <a:gd name="T48" fmla="*/ 168 w 773"/>
                      <a:gd name="T49" fmla="*/ 183 h 426"/>
                      <a:gd name="T50" fmla="*/ 184 w 773"/>
                      <a:gd name="T51" fmla="*/ 157 h 426"/>
                      <a:gd name="T52" fmla="*/ 198 w 773"/>
                      <a:gd name="T53" fmla="*/ 135 h 426"/>
                      <a:gd name="T54" fmla="*/ 194 w 773"/>
                      <a:gd name="T55" fmla="*/ 116 h 426"/>
                      <a:gd name="T56" fmla="*/ 210 w 773"/>
                      <a:gd name="T57" fmla="*/ 90 h 426"/>
                      <a:gd name="T58" fmla="*/ 238 w 773"/>
                      <a:gd name="T59" fmla="*/ 105 h 426"/>
                      <a:gd name="T60" fmla="*/ 248 w 773"/>
                      <a:gd name="T61" fmla="*/ 97 h 426"/>
                      <a:gd name="T62" fmla="*/ 265 w 773"/>
                      <a:gd name="T63" fmla="*/ 90 h 426"/>
                      <a:gd name="T64" fmla="*/ 312 w 773"/>
                      <a:gd name="T65" fmla="*/ 69 h 426"/>
                      <a:gd name="T66" fmla="*/ 314 w 773"/>
                      <a:gd name="T67" fmla="*/ 53 h 426"/>
                      <a:gd name="T68" fmla="*/ 352 w 773"/>
                      <a:gd name="T69" fmla="*/ 57 h 426"/>
                      <a:gd name="T70" fmla="*/ 364 w 773"/>
                      <a:gd name="T71" fmla="*/ 81 h 426"/>
                      <a:gd name="T72" fmla="*/ 376 w 773"/>
                      <a:gd name="T73" fmla="*/ 71 h 426"/>
                      <a:gd name="T74" fmla="*/ 392 w 773"/>
                      <a:gd name="T75" fmla="*/ 55 h 426"/>
                      <a:gd name="T76" fmla="*/ 402 w 773"/>
                      <a:gd name="T77" fmla="*/ 36 h 426"/>
                      <a:gd name="T78" fmla="*/ 390 w 773"/>
                      <a:gd name="T79" fmla="*/ 22 h 426"/>
                      <a:gd name="T80" fmla="*/ 404 w 773"/>
                      <a:gd name="T81" fmla="*/ 3 h 426"/>
                      <a:gd name="T82" fmla="*/ 437 w 773"/>
                      <a:gd name="T83" fmla="*/ 17 h 426"/>
                      <a:gd name="T84" fmla="*/ 466 w 773"/>
                      <a:gd name="T85" fmla="*/ 36 h 426"/>
                      <a:gd name="T86" fmla="*/ 489 w 773"/>
                      <a:gd name="T87" fmla="*/ 22 h 426"/>
                      <a:gd name="T88" fmla="*/ 511 w 773"/>
                      <a:gd name="T89" fmla="*/ 22 h 426"/>
                      <a:gd name="T90" fmla="*/ 546 w 773"/>
                      <a:gd name="T91" fmla="*/ 29 h 426"/>
                      <a:gd name="T92" fmla="*/ 577 w 773"/>
                      <a:gd name="T93" fmla="*/ 34 h 426"/>
                      <a:gd name="T94" fmla="*/ 574 w 773"/>
                      <a:gd name="T95" fmla="*/ 71 h 426"/>
                      <a:gd name="T96" fmla="*/ 572 w 773"/>
                      <a:gd name="T97" fmla="*/ 100 h 426"/>
                      <a:gd name="T98" fmla="*/ 600 w 773"/>
                      <a:gd name="T99" fmla="*/ 88 h 426"/>
                      <a:gd name="T100" fmla="*/ 643 w 773"/>
                      <a:gd name="T101" fmla="*/ 109 h 426"/>
                      <a:gd name="T102" fmla="*/ 705 w 773"/>
                      <a:gd name="T103" fmla="*/ 157 h 426"/>
                      <a:gd name="T104" fmla="*/ 709 w 773"/>
                      <a:gd name="T105" fmla="*/ 180 h 426"/>
                      <a:gd name="T106" fmla="*/ 723 w 773"/>
                      <a:gd name="T107" fmla="*/ 176 h 426"/>
                      <a:gd name="T108" fmla="*/ 733 w 773"/>
                      <a:gd name="T109" fmla="*/ 185 h 426"/>
                      <a:gd name="T110" fmla="*/ 747 w 773"/>
                      <a:gd name="T111" fmla="*/ 197 h 426"/>
                      <a:gd name="T112" fmla="*/ 768 w 773"/>
                      <a:gd name="T113" fmla="*/ 206 h 426"/>
                      <a:gd name="T114" fmla="*/ 768 w 773"/>
                      <a:gd name="T115" fmla="*/ 228 h 4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773" h="426">
                        <a:moveTo>
                          <a:pt x="768" y="228"/>
                        </a:moveTo>
                        <a:lnTo>
                          <a:pt x="768" y="228"/>
                        </a:lnTo>
                        <a:lnTo>
                          <a:pt x="766" y="230"/>
                        </a:lnTo>
                        <a:lnTo>
                          <a:pt x="766" y="232"/>
                        </a:lnTo>
                        <a:lnTo>
                          <a:pt x="764" y="230"/>
                        </a:lnTo>
                        <a:lnTo>
                          <a:pt x="757" y="228"/>
                        </a:lnTo>
                        <a:lnTo>
                          <a:pt x="754" y="228"/>
                        </a:lnTo>
                        <a:lnTo>
                          <a:pt x="754" y="230"/>
                        </a:lnTo>
                        <a:lnTo>
                          <a:pt x="752" y="232"/>
                        </a:lnTo>
                        <a:lnTo>
                          <a:pt x="750" y="235"/>
                        </a:lnTo>
                        <a:lnTo>
                          <a:pt x="747" y="235"/>
                        </a:lnTo>
                        <a:lnTo>
                          <a:pt x="745" y="235"/>
                        </a:lnTo>
                        <a:lnTo>
                          <a:pt x="740" y="230"/>
                        </a:lnTo>
                        <a:lnTo>
                          <a:pt x="728" y="223"/>
                        </a:lnTo>
                        <a:lnTo>
                          <a:pt x="723" y="218"/>
                        </a:lnTo>
                        <a:lnTo>
                          <a:pt x="719" y="221"/>
                        </a:lnTo>
                        <a:lnTo>
                          <a:pt x="709" y="213"/>
                        </a:lnTo>
                        <a:lnTo>
                          <a:pt x="702" y="213"/>
                        </a:lnTo>
                        <a:lnTo>
                          <a:pt x="705" y="218"/>
                        </a:lnTo>
                        <a:lnTo>
                          <a:pt x="705" y="218"/>
                        </a:lnTo>
                        <a:lnTo>
                          <a:pt x="702" y="221"/>
                        </a:lnTo>
                        <a:lnTo>
                          <a:pt x="702" y="221"/>
                        </a:lnTo>
                        <a:lnTo>
                          <a:pt x="705" y="223"/>
                        </a:lnTo>
                        <a:lnTo>
                          <a:pt x="707" y="225"/>
                        </a:lnTo>
                        <a:lnTo>
                          <a:pt x="709" y="228"/>
                        </a:lnTo>
                        <a:lnTo>
                          <a:pt x="712" y="228"/>
                        </a:lnTo>
                        <a:lnTo>
                          <a:pt x="712" y="230"/>
                        </a:lnTo>
                        <a:lnTo>
                          <a:pt x="709" y="232"/>
                        </a:lnTo>
                        <a:lnTo>
                          <a:pt x="709" y="235"/>
                        </a:lnTo>
                        <a:lnTo>
                          <a:pt x="707" y="237"/>
                        </a:lnTo>
                        <a:lnTo>
                          <a:pt x="712" y="239"/>
                        </a:lnTo>
                        <a:lnTo>
                          <a:pt x="712" y="242"/>
                        </a:lnTo>
                        <a:lnTo>
                          <a:pt x="709" y="242"/>
                        </a:lnTo>
                        <a:lnTo>
                          <a:pt x="705" y="237"/>
                        </a:lnTo>
                        <a:lnTo>
                          <a:pt x="702" y="232"/>
                        </a:lnTo>
                        <a:lnTo>
                          <a:pt x="688" y="228"/>
                        </a:lnTo>
                        <a:lnTo>
                          <a:pt x="671" y="216"/>
                        </a:lnTo>
                        <a:lnTo>
                          <a:pt x="667" y="213"/>
                        </a:lnTo>
                        <a:lnTo>
                          <a:pt x="657" y="206"/>
                        </a:lnTo>
                        <a:lnTo>
                          <a:pt x="655" y="206"/>
                        </a:lnTo>
                        <a:lnTo>
                          <a:pt x="645" y="206"/>
                        </a:lnTo>
                        <a:lnTo>
                          <a:pt x="643" y="206"/>
                        </a:lnTo>
                        <a:lnTo>
                          <a:pt x="638" y="204"/>
                        </a:lnTo>
                        <a:lnTo>
                          <a:pt x="626" y="192"/>
                        </a:lnTo>
                        <a:lnTo>
                          <a:pt x="624" y="192"/>
                        </a:lnTo>
                        <a:lnTo>
                          <a:pt x="622" y="187"/>
                        </a:lnTo>
                        <a:lnTo>
                          <a:pt x="617" y="185"/>
                        </a:lnTo>
                        <a:lnTo>
                          <a:pt x="603" y="180"/>
                        </a:lnTo>
                        <a:lnTo>
                          <a:pt x="598" y="178"/>
                        </a:lnTo>
                        <a:lnTo>
                          <a:pt x="596" y="173"/>
                        </a:lnTo>
                        <a:lnTo>
                          <a:pt x="593" y="168"/>
                        </a:lnTo>
                        <a:lnTo>
                          <a:pt x="589" y="171"/>
                        </a:lnTo>
                        <a:lnTo>
                          <a:pt x="584" y="173"/>
                        </a:lnTo>
                        <a:lnTo>
                          <a:pt x="579" y="173"/>
                        </a:lnTo>
                        <a:lnTo>
                          <a:pt x="577" y="168"/>
                        </a:lnTo>
                        <a:lnTo>
                          <a:pt x="574" y="166"/>
                        </a:lnTo>
                        <a:lnTo>
                          <a:pt x="558" y="161"/>
                        </a:lnTo>
                        <a:lnTo>
                          <a:pt x="556" y="152"/>
                        </a:lnTo>
                        <a:lnTo>
                          <a:pt x="522" y="138"/>
                        </a:lnTo>
                        <a:lnTo>
                          <a:pt x="511" y="131"/>
                        </a:lnTo>
                        <a:lnTo>
                          <a:pt x="508" y="135"/>
                        </a:lnTo>
                        <a:lnTo>
                          <a:pt x="506" y="140"/>
                        </a:lnTo>
                        <a:lnTo>
                          <a:pt x="506" y="145"/>
                        </a:lnTo>
                        <a:lnTo>
                          <a:pt x="508" y="152"/>
                        </a:lnTo>
                        <a:lnTo>
                          <a:pt x="494" y="147"/>
                        </a:lnTo>
                        <a:lnTo>
                          <a:pt x="487" y="145"/>
                        </a:lnTo>
                        <a:lnTo>
                          <a:pt x="487" y="140"/>
                        </a:lnTo>
                        <a:lnTo>
                          <a:pt x="480" y="131"/>
                        </a:lnTo>
                        <a:lnTo>
                          <a:pt x="470" y="126"/>
                        </a:lnTo>
                        <a:lnTo>
                          <a:pt x="440" y="124"/>
                        </a:lnTo>
                        <a:lnTo>
                          <a:pt x="425" y="121"/>
                        </a:lnTo>
                        <a:lnTo>
                          <a:pt x="416" y="116"/>
                        </a:lnTo>
                        <a:lnTo>
                          <a:pt x="414" y="119"/>
                        </a:lnTo>
                        <a:lnTo>
                          <a:pt x="399" y="119"/>
                        </a:lnTo>
                        <a:lnTo>
                          <a:pt x="392" y="119"/>
                        </a:lnTo>
                        <a:lnTo>
                          <a:pt x="390" y="116"/>
                        </a:lnTo>
                        <a:lnTo>
                          <a:pt x="385" y="114"/>
                        </a:lnTo>
                        <a:lnTo>
                          <a:pt x="366" y="114"/>
                        </a:lnTo>
                        <a:lnTo>
                          <a:pt x="359" y="116"/>
                        </a:lnTo>
                        <a:lnTo>
                          <a:pt x="354" y="119"/>
                        </a:lnTo>
                        <a:lnTo>
                          <a:pt x="347" y="126"/>
                        </a:lnTo>
                        <a:lnTo>
                          <a:pt x="345" y="131"/>
                        </a:lnTo>
                        <a:lnTo>
                          <a:pt x="343" y="133"/>
                        </a:lnTo>
                        <a:lnTo>
                          <a:pt x="340" y="133"/>
                        </a:lnTo>
                        <a:lnTo>
                          <a:pt x="338" y="133"/>
                        </a:lnTo>
                        <a:lnTo>
                          <a:pt x="335" y="133"/>
                        </a:lnTo>
                        <a:lnTo>
                          <a:pt x="319" y="150"/>
                        </a:lnTo>
                        <a:lnTo>
                          <a:pt x="314" y="150"/>
                        </a:lnTo>
                        <a:lnTo>
                          <a:pt x="309" y="152"/>
                        </a:lnTo>
                        <a:lnTo>
                          <a:pt x="302" y="159"/>
                        </a:lnTo>
                        <a:lnTo>
                          <a:pt x="283" y="178"/>
                        </a:lnTo>
                        <a:lnTo>
                          <a:pt x="276" y="187"/>
                        </a:lnTo>
                        <a:lnTo>
                          <a:pt x="279" y="194"/>
                        </a:lnTo>
                        <a:lnTo>
                          <a:pt x="276" y="199"/>
                        </a:lnTo>
                        <a:lnTo>
                          <a:pt x="276" y="202"/>
                        </a:lnTo>
                        <a:lnTo>
                          <a:pt x="276" y="206"/>
                        </a:lnTo>
                        <a:lnTo>
                          <a:pt x="276" y="206"/>
                        </a:lnTo>
                        <a:lnTo>
                          <a:pt x="272" y="211"/>
                        </a:lnTo>
                        <a:lnTo>
                          <a:pt x="269" y="211"/>
                        </a:lnTo>
                        <a:lnTo>
                          <a:pt x="269" y="218"/>
                        </a:lnTo>
                        <a:lnTo>
                          <a:pt x="269" y="223"/>
                        </a:lnTo>
                        <a:lnTo>
                          <a:pt x="269" y="225"/>
                        </a:lnTo>
                        <a:lnTo>
                          <a:pt x="267" y="232"/>
                        </a:lnTo>
                        <a:lnTo>
                          <a:pt x="260" y="237"/>
                        </a:lnTo>
                        <a:lnTo>
                          <a:pt x="243" y="244"/>
                        </a:lnTo>
                        <a:lnTo>
                          <a:pt x="234" y="249"/>
                        </a:lnTo>
                        <a:lnTo>
                          <a:pt x="229" y="254"/>
                        </a:lnTo>
                        <a:lnTo>
                          <a:pt x="227" y="258"/>
                        </a:lnTo>
                        <a:lnTo>
                          <a:pt x="220" y="270"/>
                        </a:lnTo>
                        <a:lnTo>
                          <a:pt x="220" y="273"/>
                        </a:lnTo>
                        <a:lnTo>
                          <a:pt x="222" y="280"/>
                        </a:lnTo>
                        <a:lnTo>
                          <a:pt x="222" y="284"/>
                        </a:lnTo>
                        <a:lnTo>
                          <a:pt x="220" y="289"/>
                        </a:lnTo>
                        <a:lnTo>
                          <a:pt x="217" y="296"/>
                        </a:lnTo>
                        <a:lnTo>
                          <a:pt x="205" y="313"/>
                        </a:lnTo>
                        <a:lnTo>
                          <a:pt x="201" y="325"/>
                        </a:lnTo>
                        <a:lnTo>
                          <a:pt x="208" y="332"/>
                        </a:lnTo>
                        <a:lnTo>
                          <a:pt x="208" y="334"/>
                        </a:lnTo>
                        <a:lnTo>
                          <a:pt x="201" y="336"/>
                        </a:lnTo>
                        <a:lnTo>
                          <a:pt x="191" y="348"/>
                        </a:lnTo>
                        <a:lnTo>
                          <a:pt x="184" y="353"/>
                        </a:lnTo>
                        <a:lnTo>
                          <a:pt x="182" y="355"/>
                        </a:lnTo>
                        <a:lnTo>
                          <a:pt x="182" y="358"/>
                        </a:lnTo>
                        <a:lnTo>
                          <a:pt x="179" y="360"/>
                        </a:lnTo>
                        <a:lnTo>
                          <a:pt x="179" y="362"/>
                        </a:lnTo>
                        <a:lnTo>
                          <a:pt x="175" y="365"/>
                        </a:lnTo>
                        <a:lnTo>
                          <a:pt x="168" y="367"/>
                        </a:lnTo>
                        <a:lnTo>
                          <a:pt x="149" y="386"/>
                        </a:lnTo>
                        <a:lnTo>
                          <a:pt x="97" y="403"/>
                        </a:lnTo>
                        <a:lnTo>
                          <a:pt x="82" y="415"/>
                        </a:lnTo>
                        <a:lnTo>
                          <a:pt x="71" y="419"/>
                        </a:lnTo>
                        <a:lnTo>
                          <a:pt x="33" y="422"/>
                        </a:lnTo>
                        <a:lnTo>
                          <a:pt x="23" y="426"/>
                        </a:lnTo>
                        <a:lnTo>
                          <a:pt x="19" y="426"/>
                        </a:lnTo>
                        <a:lnTo>
                          <a:pt x="16" y="424"/>
                        </a:lnTo>
                        <a:lnTo>
                          <a:pt x="14" y="424"/>
                        </a:lnTo>
                        <a:lnTo>
                          <a:pt x="11" y="424"/>
                        </a:lnTo>
                        <a:lnTo>
                          <a:pt x="2" y="405"/>
                        </a:lnTo>
                        <a:lnTo>
                          <a:pt x="0" y="393"/>
                        </a:lnTo>
                        <a:lnTo>
                          <a:pt x="4" y="384"/>
                        </a:lnTo>
                        <a:lnTo>
                          <a:pt x="16" y="367"/>
                        </a:lnTo>
                        <a:lnTo>
                          <a:pt x="21" y="358"/>
                        </a:lnTo>
                        <a:lnTo>
                          <a:pt x="35" y="344"/>
                        </a:lnTo>
                        <a:lnTo>
                          <a:pt x="42" y="334"/>
                        </a:lnTo>
                        <a:lnTo>
                          <a:pt x="45" y="329"/>
                        </a:lnTo>
                        <a:lnTo>
                          <a:pt x="45" y="320"/>
                        </a:lnTo>
                        <a:lnTo>
                          <a:pt x="47" y="315"/>
                        </a:lnTo>
                        <a:lnTo>
                          <a:pt x="49" y="310"/>
                        </a:lnTo>
                        <a:lnTo>
                          <a:pt x="54" y="306"/>
                        </a:lnTo>
                        <a:lnTo>
                          <a:pt x="56" y="301"/>
                        </a:lnTo>
                        <a:lnTo>
                          <a:pt x="56" y="294"/>
                        </a:lnTo>
                        <a:lnTo>
                          <a:pt x="56" y="291"/>
                        </a:lnTo>
                        <a:lnTo>
                          <a:pt x="61" y="291"/>
                        </a:lnTo>
                        <a:lnTo>
                          <a:pt x="71" y="287"/>
                        </a:lnTo>
                        <a:lnTo>
                          <a:pt x="71" y="287"/>
                        </a:lnTo>
                        <a:lnTo>
                          <a:pt x="71" y="284"/>
                        </a:lnTo>
                        <a:lnTo>
                          <a:pt x="68" y="284"/>
                        </a:lnTo>
                        <a:lnTo>
                          <a:pt x="68" y="284"/>
                        </a:lnTo>
                        <a:lnTo>
                          <a:pt x="68" y="282"/>
                        </a:lnTo>
                        <a:lnTo>
                          <a:pt x="66" y="280"/>
                        </a:lnTo>
                        <a:lnTo>
                          <a:pt x="66" y="280"/>
                        </a:lnTo>
                        <a:lnTo>
                          <a:pt x="68" y="277"/>
                        </a:lnTo>
                        <a:lnTo>
                          <a:pt x="68" y="277"/>
                        </a:lnTo>
                        <a:lnTo>
                          <a:pt x="71" y="273"/>
                        </a:lnTo>
                        <a:lnTo>
                          <a:pt x="71" y="270"/>
                        </a:lnTo>
                        <a:lnTo>
                          <a:pt x="73" y="268"/>
                        </a:lnTo>
                        <a:lnTo>
                          <a:pt x="73" y="268"/>
                        </a:lnTo>
                        <a:lnTo>
                          <a:pt x="75" y="268"/>
                        </a:lnTo>
                        <a:lnTo>
                          <a:pt x="78" y="268"/>
                        </a:lnTo>
                        <a:lnTo>
                          <a:pt x="80" y="268"/>
                        </a:lnTo>
                        <a:lnTo>
                          <a:pt x="85" y="270"/>
                        </a:lnTo>
                        <a:lnTo>
                          <a:pt x="89" y="270"/>
                        </a:lnTo>
                        <a:lnTo>
                          <a:pt x="89" y="273"/>
                        </a:lnTo>
                        <a:lnTo>
                          <a:pt x="99" y="273"/>
                        </a:lnTo>
                        <a:lnTo>
                          <a:pt x="118" y="273"/>
                        </a:lnTo>
                        <a:lnTo>
                          <a:pt x="125" y="273"/>
                        </a:lnTo>
                        <a:lnTo>
                          <a:pt x="146" y="273"/>
                        </a:lnTo>
                        <a:lnTo>
                          <a:pt x="149" y="273"/>
                        </a:lnTo>
                        <a:lnTo>
                          <a:pt x="149" y="273"/>
                        </a:lnTo>
                        <a:lnTo>
                          <a:pt x="149" y="270"/>
                        </a:lnTo>
                        <a:lnTo>
                          <a:pt x="151" y="270"/>
                        </a:lnTo>
                        <a:lnTo>
                          <a:pt x="149" y="268"/>
                        </a:lnTo>
                        <a:lnTo>
                          <a:pt x="149" y="265"/>
                        </a:lnTo>
                        <a:lnTo>
                          <a:pt x="149" y="265"/>
                        </a:lnTo>
                        <a:lnTo>
                          <a:pt x="146" y="265"/>
                        </a:lnTo>
                        <a:lnTo>
                          <a:pt x="144" y="263"/>
                        </a:lnTo>
                        <a:lnTo>
                          <a:pt x="144" y="263"/>
                        </a:lnTo>
                        <a:lnTo>
                          <a:pt x="141" y="261"/>
                        </a:lnTo>
                        <a:lnTo>
                          <a:pt x="144" y="258"/>
                        </a:lnTo>
                        <a:lnTo>
                          <a:pt x="144" y="256"/>
                        </a:lnTo>
                        <a:lnTo>
                          <a:pt x="146" y="254"/>
                        </a:lnTo>
                        <a:lnTo>
                          <a:pt x="149" y="251"/>
                        </a:lnTo>
                        <a:lnTo>
                          <a:pt x="149" y="251"/>
                        </a:lnTo>
                        <a:lnTo>
                          <a:pt x="153" y="251"/>
                        </a:lnTo>
                        <a:lnTo>
                          <a:pt x="156" y="254"/>
                        </a:lnTo>
                        <a:lnTo>
                          <a:pt x="160" y="254"/>
                        </a:lnTo>
                        <a:lnTo>
                          <a:pt x="160" y="254"/>
                        </a:lnTo>
                        <a:lnTo>
                          <a:pt x="163" y="251"/>
                        </a:lnTo>
                        <a:lnTo>
                          <a:pt x="163" y="251"/>
                        </a:lnTo>
                        <a:lnTo>
                          <a:pt x="165" y="249"/>
                        </a:lnTo>
                        <a:lnTo>
                          <a:pt x="168" y="244"/>
                        </a:lnTo>
                        <a:lnTo>
                          <a:pt x="170" y="239"/>
                        </a:lnTo>
                        <a:lnTo>
                          <a:pt x="170" y="237"/>
                        </a:lnTo>
                        <a:lnTo>
                          <a:pt x="170" y="235"/>
                        </a:lnTo>
                        <a:lnTo>
                          <a:pt x="170" y="232"/>
                        </a:lnTo>
                        <a:lnTo>
                          <a:pt x="170" y="230"/>
                        </a:lnTo>
                        <a:lnTo>
                          <a:pt x="168" y="228"/>
                        </a:lnTo>
                        <a:lnTo>
                          <a:pt x="168" y="228"/>
                        </a:lnTo>
                        <a:lnTo>
                          <a:pt x="165" y="225"/>
                        </a:lnTo>
                        <a:lnTo>
                          <a:pt x="165" y="223"/>
                        </a:lnTo>
                        <a:lnTo>
                          <a:pt x="165" y="218"/>
                        </a:lnTo>
                        <a:lnTo>
                          <a:pt x="165" y="216"/>
                        </a:lnTo>
                        <a:lnTo>
                          <a:pt x="165" y="213"/>
                        </a:lnTo>
                        <a:lnTo>
                          <a:pt x="165" y="211"/>
                        </a:lnTo>
                        <a:lnTo>
                          <a:pt x="165" y="211"/>
                        </a:lnTo>
                        <a:lnTo>
                          <a:pt x="165" y="206"/>
                        </a:lnTo>
                        <a:lnTo>
                          <a:pt x="165" y="197"/>
                        </a:lnTo>
                        <a:lnTo>
                          <a:pt x="165" y="194"/>
                        </a:lnTo>
                        <a:lnTo>
                          <a:pt x="165" y="192"/>
                        </a:lnTo>
                        <a:lnTo>
                          <a:pt x="163" y="190"/>
                        </a:lnTo>
                        <a:lnTo>
                          <a:pt x="163" y="190"/>
                        </a:lnTo>
                        <a:lnTo>
                          <a:pt x="163" y="187"/>
                        </a:lnTo>
                        <a:lnTo>
                          <a:pt x="163" y="187"/>
                        </a:lnTo>
                        <a:lnTo>
                          <a:pt x="165" y="185"/>
                        </a:lnTo>
                        <a:lnTo>
                          <a:pt x="168" y="183"/>
                        </a:lnTo>
                        <a:lnTo>
                          <a:pt x="170" y="180"/>
                        </a:lnTo>
                        <a:lnTo>
                          <a:pt x="172" y="178"/>
                        </a:lnTo>
                        <a:lnTo>
                          <a:pt x="172" y="176"/>
                        </a:lnTo>
                        <a:lnTo>
                          <a:pt x="175" y="173"/>
                        </a:lnTo>
                        <a:lnTo>
                          <a:pt x="179" y="168"/>
                        </a:lnTo>
                        <a:lnTo>
                          <a:pt x="182" y="166"/>
                        </a:lnTo>
                        <a:lnTo>
                          <a:pt x="182" y="166"/>
                        </a:lnTo>
                        <a:lnTo>
                          <a:pt x="182" y="161"/>
                        </a:lnTo>
                        <a:lnTo>
                          <a:pt x="184" y="157"/>
                        </a:lnTo>
                        <a:lnTo>
                          <a:pt x="186" y="150"/>
                        </a:lnTo>
                        <a:lnTo>
                          <a:pt x="186" y="147"/>
                        </a:lnTo>
                        <a:lnTo>
                          <a:pt x="189" y="145"/>
                        </a:lnTo>
                        <a:lnTo>
                          <a:pt x="189" y="145"/>
                        </a:lnTo>
                        <a:lnTo>
                          <a:pt x="194" y="142"/>
                        </a:lnTo>
                        <a:lnTo>
                          <a:pt x="196" y="140"/>
                        </a:lnTo>
                        <a:lnTo>
                          <a:pt x="196" y="140"/>
                        </a:lnTo>
                        <a:lnTo>
                          <a:pt x="196" y="140"/>
                        </a:lnTo>
                        <a:lnTo>
                          <a:pt x="198" y="135"/>
                        </a:lnTo>
                        <a:lnTo>
                          <a:pt x="201" y="133"/>
                        </a:lnTo>
                        <a:lnTo>
                          <a:pt x="201" y="131"/>
                        </a:lnTo>
                        <a:lnTo>
                          <a:pt x="198" y="126"/>
                        </a:lnTo>
                        <a:lnTo>
                          <a:pt x="198" y="124"/>
                        </a:lnTo>
                        <a:lnTo>
                          <a:pt x="198" y="121"/>
                        </a:lnTo>
                        <a:lnTo>
                          <a:pt x="196" y="119"/>
                        </a:lnTo>
                        <a:lnTo>
                          <a:pt x="194" y="119"/>
                        </a:lnTo>
                        <a:lnTo>
                          <a:pt x="194" y="116"/>
                        </a:lnTo>
                        <a:lnTo>
                          <a:pt x="194" y="116"/>
                        </a:lnTo>
                        <a:lnTo>
                          <a:pt x="194" y="114"/>
                        </a:lnTo>
                        <a:lnTo>
                          <a:pt x="194" y="112"/>
                        </a:lnTo>
                        <a:lnTo>
                          <a:pt x="196" y="107"/>
                        </a:lnTo>
                        <a:lnTo>
                          <a:pt x="196" y="102"/>
                        </a:lnTo>
                        <a:lnTo>
                          <a:pt x="198" y="95"/>
                        </a:lnTo>
                        <a:lnTo>
                          <a:pt x="198" y="95"/>
                        </a:lnTo>
                        <a:lnTo>
                          <a:pt x="203" y="88"/>
                        </a:lnTo>
                        <a:lnTo>
                          <a:pt x="208" y="86"/>
                        </a:lnTo>
                        <a:lnTo>
                          <a:pt x="210" y="90"/>
                        </a:lnTo>
                        <a:lnTo>
                          <a:pt x="212" y="93"/>
                        </a:lnTo>
                        <a:lnTo>
                          <a:pt x="215" y="93"/>
                        </a:lnTo>
                        <a:lnTo>
                          <a:pt x="220" y="95"/>
                        </a:lnTo>
                        <a:lnTo>
                          <a:pt x="224" y="97"/>
                        </a:lnTo>
                        <a:lnTo>
                          <a:pt x="227" y="100"/>
                        </a:lnTo>
                        <a:lnTo>
                          <a:pt x="227" y="100"/>
                        </a:lnTo>
                        <a:lnTo>
                          <a:pt x="234" y="102"/>
                        </a:lnTo>
                        <a:lnTo>
                          <a:pt x="236" y="102"/>
                        </a:lnTo>
                        <a:lnTo>
                          <a:pt x="238" y="105"/>
                        </a:lnTo>
                        <a:lnTo>
                          <a:pt x="238" y="105"/>
                        </a:lnTo>
                        <a:lnTo>
                          <a:pt x="238" y="105"/>
                        </a:lnTo>
                        <a:lnTo>
                          <a:pt x="241" y="107"/>
                        </a:lnTo>
                        <a:lnTo>
                          <a:pt x="243" y="105"/>
                        </a:lnTo>
                        <a:lnTo>
                          <a:pt x="246" y="102"/>
                        </a:lnTo>
                        <a:lnTo>
                          <a:pt x="248" y="102"/>
                        </a:lnTo>
                        <a:lnTo>
                          <a:pt x="248" y="100"/>
                        </a:lnTo>
                        <a:lnTo>
                          <a:pt x="248" y="97"/>
                        </a:lnTo>
                        <a:lnTo>
                          <a:pt x="248" y="97"/>
                        </a:lnTo>
                        <a:lnTo>
                          <a:pt x="250" y="95"/>
                        </a:lnTo>
                        <a:lnTo>
                          <a:pt x="250" y="95"/>
                        </a:lnTo>
                        <a:lnTo>
                          <a:pt x="250" y="93"/>
                        </a:lnTo>
                        <a:lnTo>
                          <a:pt x="255" y="90"/>
                        </a:lnTo>
                        <a:lnTo>
                          <a:pt x="255" y="90"/>
                        </a:lnTo>
                        <a:lnTo>
                          <a:pt x="257" y="88"/>
                        </a:lnTo>
                        <a:lnTo>
                          <a:pt x="260" y="90"/>
                        </a:lnTo>
                        <a:lnTo>
                          <a:pt x="262" y="90"/>
                        </a:lnTo>
                        <a:lnTo>
                          <a:pt x="265" y="90"/>
                        </a:lnTo>
                        <a:lnTo>
                          <a:pt x="267" y="88"/>
                        </a:lnTo>
                        <a:lnTo>
                          <a:pt x="276" y="86"/>
                        </a:lnTo>
                        <a:lnTo>
                          <a:pt x="302" y="83"/>
                        </a:lnTo>
                        <a:lnTo>
                          <a:pt x="307" y="81"/>
                        </a:lnTo>
                        <a:lnTo>
                          <a:pt x="309" y="76"/>
                        </a:lnTo>
                        <a:lnTo>
                          <a:pt x="312" y="74"/>
                        </a:lnTo>
                        <a:lnTo>
                          <a:pt x="312" y="71"/>
                        </a:lnTo>
                        <a:lnTo>
                          <a:pt x="312" y="71"/>
                        </a:lnTo>
                        <a:lnTo>
                          <a:pt x="312" y="69"/>
                        </a:lnTo>
                        <a:lnTo>
                          <a:pt x="312" y="67"/>
                        </a:lnTo>
                        <a:lnTo>
                          <a:pt x="312" y="67"/>
                        </a:lnTo>
                        <a:lnTo>
                          <a:pt x="309" y="64"/>
                        </a:lnTo>
                        <a:lnTo>
                          <a:pt x="309" y="64"/>
                        </a:lnTo>
                        <a:lnTo>
                          <a:pt x="312" y="62"/>
                        </a:lnTo>
                        <a:lnTo>
                          <a:pt x="312" y="60"/>
                        </a:lnTo>
                        <a:lnTo>
                          <a:pt x="312" y="57"/>
                        </a:lnTo>
                        <a:lnTo>
                          <a:pt x="312" y="55"/>
                        </a:lnTo>
                        <a:lnTo>
                          <a:pt x="314" y="53"/>
                        </a:lnTo>
                        <a:lnTo>
                          <a:pt x="314" y="53"/>
                        </a:lnTo>
                        <a:lnTo>
                          <a:pt x="317" y="53"/>
                        </a:lnTo>
                        <a:lnTo>
                          <a:pt x="319" y="50"/>
                        </a:lnTo>
                        <a:lnTo>
                          <a:pt x="345" y="50"/>
                        </a:lnTo>
                        <a:lnTo>
                          <a:pt x="347" y="53"/>
                        </a:lnTo>
                        <a:lnTo>
                          <a:pt x="347" y="53"/>
                        </a:lnTo>
                        <a:lnTo>
                          <a:pt x="350" y="53"/>
                        </a:lnTo>
                        <a:lnTo>
                          <a:pt x="350" y="55"/>
                        </a:lnTo>
                        <a:lnTo>
                          <a:pt x="352" y="57"/>
                        </a:lnTo>
                        <a:lnTo>
                          <a:pt x="352" y="60"/>
                        </a:lnTo>
                        <a:lnTo>
                          <a:pt x="357" y="62"/>
                        </a:lnTo>
                        <a:lnTo>
                          <a:pt x="359" y="67"/>
                        </a:lnTo>
                        <a:lnTo>
                          <a:pt x="359" y="69"/>
                        </a:lnTo>
                        <a:lnTo>
                          <a:pt x="362" y="71"/>
                        </a:lnTo>
                        <a:lnTo>
                          <a:pt x="364" y="74"/>
                        </a:lnTo>
                        <a:lnTo>
                          <a:pt x="364" y="74"/>
                        </a:lnTo>
                        <a:lnTo>
                          <a:pt x="364" y="79"/>
                        </a:lnTo>
                        <a:lnTo>
                          <a:pt x="364" y="81"/>
                        </a:lnTo>
                        <a:lnTo>
                          <a:pt x="364" y="83"/>
                        </a:lnTo>
                        <a:lnTo>
                          <a:pt x="364" y="83"/>
                        </a:lnTo>
                        <a:lnTo>
                          <a:pt x="366" y="83"/>
                        </a:lnTo>
                        <a:lnTo>
                          <a:pt x="366" y="83"/>
                        </a:lnTo>
                        <a:lnTo>
                          <a:pt x="366" y="83"/>
                        </a:lnTo>
                        <a:lnTo>
                          <a:pt x="369" y="79"/>
                        </a:lnTo>
                        <a:lnTo>
                          <a:pt x="371" y="76"/>
                        </a:lnTo>
                        <a:lnTo>
                          <a:pt x="371" y="74"/>
                        </a:lnTo>
                        <a:lnTo>
                          <a:pt x="376" y="71"/>
                        </a:lnTo>
                        <a:lnTo>
                          <a:pt x="376" y="69"/>
                        </a:lnTo>
                        <a:lnTo>
                          <a:pt x="378" y="69"/>
                        </a:lnTo>
                        <a:lnTo>
                          <a:pt x="378" y="67"/>
                        </a:lnTo>
                        <a:lnTo>
                          <a:pt x="378" y="64"/>
                        </a:lnTo>
                        <a:lnTo>
                          <a:pt x="378" y="60"/>
                        </a:lnTo>
                        <a:lnTo>
                          <a:pt x="380" y="57"/>
                        </a:lnTo>
                        <a:lnTo>
                          <a:pt x="380" y="57"/>
                        </a:lnTo>
                        <a:lnTo>
                          <a:pt x="385" y="55"/>
                        </a:lnTo>
                        <a:lnTo>
                          <a:pt x="392" y="55"/>
                        </a:lnTo>
                        <a:lnTo>
                          <a:pt x="399" y="55"/>
                        </a:lnTo>
                        <a:lnTo>
                          <a:pt x="399" y="55"/>
                        </a:lnTo>
                        <a:lnTo>
                          <a:pt x="402" y="53"/>
                        </a:lnTo>
                        <a:lnTo>
                          <a:pt x="404" y="50"/>
                        </a:lnTo>
                        <a:lnTo>
                          <a:pt x="404" y="48"/>
                        </a:lnTo>
                        <a:lnTo>
                          <a:pt x="404" y="48"/>
                        </a:lnTo>
                        <a:lnTo>
                          <a:pt x="404" y="45"/>
                        </a:lnTo>
                        <a:lnTo>
                          <a:pt x="402" y="41"/>
                        </a:lnTo>
                        <a:lnTo>
                          <a:pt x="402" y="36"/>
                        </a:lnTo>
                        <a:lnTo>
                          <a:pt x="402" y="34"/>
                        </a:lnTo>
                        <a:lnTo>
                          <a:pt x="402" y="34"/>
                        </a:lnTo>
                        <a:lnTo>
                          <a:pt x="402" y="31"/>
                        </a:lnTo>
                        <a:lnTo>
                          <a:pt x="399" y="31"/>
                        </a:lnTo>
                        <a:lnTo>
                          <a:pt x="397" y="29"/>
                        </a:lnTo>
                        <a:lnTo>
                          <a:pt x="392" y="27"/>
                        </a:lnTo>
                        <a:lnTo>
                          <a:pt x="392" y="24"/>
                        </a:lnTo>
                        <a:lnTo>
                          <a:pt x="390" y="24"/>
                        </a:lnTo>
                        <a:lnTo>
                          <a:pt x="390" y="22"/>
                        </a:lnTo>
                        <a:lnTo>
                          <a:pt x="392" y="22"/>
                        </a:lnTo>
                        <a:lnTo>
                          <a:pt x="397" y="17"/>
                        </a:lnTo>
                        <a:lnTo>
                          <a:pt x="399" y="12"/>
                        </a:lnTo>
                        <a:lnTo>
                          <a:pt x="399" y="12"/>
                        </a:lnTo>
                        <a:lnTo>
                          <a:pt x="399" y="10"/>
                        </a:lnTo>
                        <a:lnTo>
                          <a:pt x="399" y="5"/>
                        </a:lnTo>
                        <a:lnTo>
                          <a:pt x="402" y="3"/>
                        </a:lnTo>
                        <a:lnTo>
                          <a:pt x="402" y="3"/>
                        </a:lnTo>
                        <a:lnTo>
                          <a:pt x="404" y="3"/>
                        </a:lnTo>
                        <a:lnTo>
                          <a:pt x="409" y="0"/>
                        </a:lnTo>
                        <a:lnTo>
                          <a:pt x="411" y="0"/>
                        </a:lnTo>
                        <a:lnTo>
                          <a:pt x="414" y="0"/>
                        </a:lnTo>
                        <a:lnTo>
                          <a:pt x="416" y="5"/>
                        </a:lnTo>
                        <a:lnTo>
                          <a:pt x="418" y="5"/>
                        </a:lnTo>
                        <a:lnTo>
                          <a:pt x="421" y="8"/>
                        </a:lnTo>
                        <a:lnTo>
                          <a:pt x="428" y="10"/>
                        </a:lnTo>
                        <a:lnTo>
                          <a:pt x="430" y="12"/>
                        </a:lnTo>
                        <a:lnTo>
                          <a:pt x="437" y="17"/>
                        </a:lnTo>
                        <a:lnTo>
                          <a:pt x="440" y="19"/>
                        </a:lnTo>
                        <a:lnTo>
                          <a:pt x="456" y="24"/>
                        </a:lnTo>
                        <a:lnTo>
                          <a:pt x="459" y="24"/>
                        </a:lnTo>
                        <a:lnTo>
                          <a:pt x="461" y="27"/>
                        </a:lnTo>
                        <a:lnTo>
                          <a:pt x="461" y="31"/>
                        </a:lnTo>
                        <a:lnTo>
                          <a:pt x="463" y="31"/>
                        </a:lnTo>
                        <a:lnTo>
                          <a:pt x="463" y="34"/>
                        </a:lnTo>
                        <a:lnTo>
                          <a:pt x="463" y="34"/>
                        </a:lnTo>
                        <a:lnTo>
                          <a:pt x="466" y="36"/>
                        </a:lnTo>
                        <a:lnTo>
                          <a:pt x="468" y="36"/>
                        </a:lnTo>
                        <a:lnTo>
                          <a:pt x="470" y="36"/>
                        </a:lnTo>
                        <a:lnTo>
                          <a:pt x="475" y="38"/>
                        </a:lnTo>
                        <a:lnTo>
                          <a:pt x="477" y="36"/>
                        </a:lnTo>
                        <a:lnTo>
                          <a:pt x="482" y="36"/>
                        </a:lnTo>
                        <a:lnTo>
                          <a:pt x="485" y="34"/>
                        </a:lnTo>
                        <a:lnTo>
                          <a:pt x="487" y="31"/>
                        </a:lnTo>
                        <a:lnTo>
                          <a:pt x="489" y="29"/>
                        </a:lnTo>
                        <a:lnTo>
                          <a:pt x="489" y="22"/>
                        </a:lnTo>
                        <a:lnTo>
                          <a:pt x="494" y="19"/>
                        </a:lnTo>
                        <a:lnTo>
                          <a:pt x="496" y="17"/>
                        </a:lnTo>
                        <a:lnTo>
                          <a:pt x="499" y="17"/>
                        </a:lnTo>
                        <a:lnTo>
                          <a:pt x="501" y="19"/>
                        </a:lnTo>
                        <a:lnTo>
                          <a:pt x="503" y="19"/>
                        </a:lnTo>
                        <a:lnTo>
                          <a:pt x="506" y="24"/>
                        </a:lnTo>
                        <a:lnTo>
                          <a:pt x="508" y="24"/>
                        </a:lnTo>
                        <a:lnTo>
                          <a:pt x="508" y="24"/>
                        </a:lnTo>
                        <a:lnTo>
                          <a:pt x="511" y="22"/>
                        </a:lnTo>
                        <a:lnTo>
                          <a:pt x="515" y="19"/>
                        </a:lnTo>
                        <a:lnTo>
                          <a:pt x="518" y="19"/>
                        </a:lnTo>
                        <a:lnTo>
                          <a:pt x="520" y="22"/>
                        </a:lnTo>
                        <a:lnTo>
                          <a:pt x="534" y="29"/>
                        </a:lnTo>
                        <a:lnTo>
                          <a:pt x="534" y="29"/>
                        </a:lnTo>
                        <a:lnTo>
                          <a:pt x="537" y="29"/>
                        </a:lnTo>
                        <a:lnTo>
                          <a:pt x="539" y="29"/>
                        </a:lnTo>
                        <a:lnTo>
                          <a:pt x="544" y="29"/>
                        </a:lnTo>
                        <a:lnTo>
                          <a:pt x="546" y="29"/>
                        </a:lnTo>
                        <a:lnTo>
                          <a:pt x="548" y="27"/>
                        </a:lnTo>
                        <a:lnTo>
                          <a:pt x="551" y="24"/>
                        </a:lnTo>
                        <a:lnTo>
                          <a:pt x="551" y="22"/>
                        </a:lnTo>
                        <a:lnTo>
                          <a:pt x="553" y="22"/>
                        </a:lnTo>
                        <a:lnTo>
                          <a:pt x="556" y="22"/>
                        </a:lnTo>
                        <a:lnTo>
                          <a:pt x="558" y="27"/>
                        </a:lnTo>
                        <a:lnTo>
                          <a:pt x="560" y="29"/>
                        </a:lnTo>
                        <a:lnTo>
                          <a:pt x="563" y="31"/>
                        </a:lnTo>
                        <a:lnTo>
                          <a:pt x="577" y="34"/>
                        </a:lnTo>
                        <a:lnTo>
                          <a:pt x="579" y="36"/>
                        </a:lnTo>
                        <a:lnTo>
                          <a:pt x="582" y="48"/>
                        </a:lnTo>
                        <a:lnTo>
                          <a:pt x="582" y="55"/>
                        </a:lnTo>
                        <a:lnTo>
                          <a:pt x="582" y="57"/>
                        </a:lnTo>
                        <a:lnTo>
                          <a:pt x="582" y="60"/>
                        </a:lnTo>
                        <a:lnTo>
                          <a:pt x="579" y="67"/>
                        </a:lnTo>
                        <a:lnTo>
                          <a:pt x="577" y="69"/>
                        </a:lnTo>
                        <a:lnTo>
                          <a:pt x="574" y="69"/>
                        </a:lnTo>
                        <a:lnTo>
                          <a:pt x="574" y="71"/>
                        </a:lnTo>
                        <a:lnTo>
                          <a:pt x="572" y="71"/>
                        </a:lnTo>
                        <a:lnTo>
                          <a:pt x="572" y="74"/>
                        </a:lnTo>
                        <a:lnTo>
                          <a:pt x="572" y="74"/>
                        </a:lnTo>
                        <a:lnTo>
                          <a:pt x="570" y="88"/>
                        </a:lnTo>
                        <a:lnTo>
                          <a:pt x="570" y="90"/>
                        </a:lnTo>
                        <a:lnTo>
                          <a:pt x="570" y="93"/>
                        </a:lnTo>
                        <a:lnTo>
                          <a:pt x="570" y="95"/>
                        </a:lnTo>
                        <a:lnTo>
                          <a:pt x="570" y="97"/>
                        </a:lnTo>
                        <a:lnTo>
                          <a:pt x="572" y="100"/>
                        </a:lnTo>
                        <a:lnTo>
                          <a:pt x="574" y="100"/>
                        </a:lnTo>
                        <a:lnTo>
                          <a:pt x="582" y="97"/>
                        </a:lnTo>
                        <a:lnTo>
                          <a:pt x="586" y="95"/>
                        </a:lnTo>
                        <a:lnTo>
                          <a:pt x="586" y="95"/>
                        </a:lnTo>
                        <a:lnTo>
                          <a:pt x="589" y="93"/>
                        </a:lnTo>
                        <a:lnTo>
                          <a:pt x="589" y="93"/>
                        </a:lnTo>
                        <a:lnTo>
                          <a:pt x="591" y="90"/>
                        </a:lnTo>
                        <a:lnTo>
                          <a:pt x="593" y="88"/>
                        </a:lnTo>
                        <a:lnTo>
                          <a:pt x="600" y="88"/>
                        </a:lnTo>
                        <a:lnTo>
                          <a:pt x="605" y="88"/>
                        </a:lnTo>
                        <a:lnTo>
                          <a:pt x="610" y="88"/>
                        </a:lnTo>
                        <a:lnTo>
                          <a:pt x="617" y="86"/>
                        </a:lnTo>
                        <a:lnTo>
                          <a:pt x="619" y="88"/>
                        </a:lnTo>
                        <a:lnTo>
                          <a:pt x="636" y="93"/>
                        </a:lnTo>
                        <a:lnTo>
                          <a:pt x="636" y="95"/>
                        </a:lnTo>
                        <a:lnTo>
                          <a:pt x="638" y="97"/>
                        </a:lnTo>
                        <a:lnTo>
                          <a:pt x="641" y="102"/>
                        </a:lnTo>
                        <a:lnTo>
                          <a:pt x="643" y="109"/>
                        </a:lnTo>
                        <a:lnTo>
                          <a:pt x="650" y="114"/>
                        </a:lnTo>
                        <a:lnTo>
                          <a:pt x="660" y="124"/>
                        </a:lnTo>
                        <a:lnTo>
                          <a:pt x="671" y="133"/>
                        </a:lnTo>
                        <a:lnTo>
                          <a:pt x="697" y="147"/>
                        </a:lnTo>
                        <a:lnTo>
                          <a:pt x="702" y="150"/>
                        </a:lnTo>
                        <a:lnTo>
                          <a:pt x="705" y="152"/>
                        </a:lnTo>
                        <a:lnTo>
                          <a:pt x="705" y="152"/>
                        </a:lnTo>
                        <a:lnTo>
                          <a:pt x="705" y="154"/>
                        </a:lnTo>
                        <a:lnTo>
                          <a:pt x="705" y="157"/>
                        </a:lnTo>
                        <a:lnTo>
                          <a:pt x="705" y="159"/>
                        </a:lnTo>
                        <a:lnTo>
                          <a:pt x="705" y="159"/>
                        </a:lnTo>
                        <a:lnTo>
                          <a:pt x="705" y="161"/>
                        </a:lnTo>
                        <a:lnTo>
                          <a:pt x="707" y="168"/>
                        </a:lnTo>
                        <a:lnTo>
                          <a:pt x="709" y="171"/>
                        </a:lnTo>
                        <a:lnTo>
                          <a:pt x="709" y="173"/>
                        </a:lnTo>
                        <a:lnTo>
                          <a:pt x="709" y="176"/>
                        </a:lnTo>
                        <a:lnTo>
                          <a:pt x="709" y="178"/>
                        </a:lnTo>
                        <a:lnTo>
                          <a:pt x="709" y="180"/>
                        </a:lnTo>
                        <a:lnTo>
                          <a:pt x="712" y="180"/>
                        </a:lnTo>
                        <a:lnTo>
                          <a:pt x="712" y="178"/>
                        </a:lnTo>
                        <a:lnTo>
                          <a:pt x="712" y="178"/>
                        </a:lnTo>
                        <a:lnTo>
                          <a:pt x="714" y="171"/>
                        </a:lnTo>
                        <a:lnTo>
                          <a:pt x="716" y="171"/>
                        </a:lnTo>
                        <a:lnTo>
                          <a:pt x="716" y="171"/>
                        </a:lnTo>
                        <a:lnTo>
                          <a:pt x="721" y="173"/>
                        </a:lnTo>
                        <a:lnTo>
                          <a:pt x="723" y="173"/>
                        </a:lnTo>
                        <a:lnTo>
                          <a:pt x="723" y="176"/>
                        </a:lnTo>
                        <a:lnTo>
                          <a:pt x="723" y="178"/>
                        </a:lnTo>
                        <a:lnTo>
                          <a:pt x="721" y="183"/>
                        </a:lnTo>
                        <a:lnTo>
                          <a:pt x="721" y="183"/>
                        </a:lnTo>
                        <a:lnTo>
                          <a:pt x="721" y="185"/>
                        </a:lnTo>
                        <a:lnTo>
                          <a:pt x="721" y="187"/>
                        </a:lnTo>
                        <a:lnTo>
                          <a:pt x="723" y="187"/>
                        </a:lnTo>
                        <a:lnTo>
                          <a:pt x="726" y="187"/>
                        </a:lnTo>
                        <a:lnTo>
                          <a:pt x="728" y="187"/>
                        </a:lnTo>
                        <a:lnTo>
                          <a:pt x="733" y="185"/>
                        </a:lnTo>
                        <a:lnTo>
                          <a:pt x="735" y="185"/>
                        </a:lnTo>
                        <a:lnTo>
                          <a:pt x="738" y="185"/>
                        </a:lnTo>
                        <a:lnTo>
                          <a:pt x="742" y="187"/>
                        </a:lnTo>
                        <a:lnTo>
                          <a:pt x="745" y="187"/>
                        </a:lnTo>
                        <a:lnTo>
                          <a:pt x="747" y="190"/>
                        </a:lnTo>
                        <a:lnTo>
                          <a:pt x="747" y="190"/>
                        </a:lnTo>
                        <a:lnTo>
                          <a:pt x="747" y="192"/>
                        </a:lnTo>
                        <a:lnTo>
                          <a:pt x="747" y="194"/>
                        </a:lnTo>
                        <a:lnTo>
                          <a:pt x="747" y="197"/>
                        </a:lnTo>
                        <a:lnTo>
                          <a:pt x="750" y="199"/>
                        </a:lnTo>
                        <a:lnTo>
                          <a:pt x="750" y="202"/>
                        </a:lnTo>
                        <a:lnTo>
                          <a:pt x="752" y="204"/>
                        </a:lnTo>
                        <a:lnTo>
                          <a:pt x="754" y="204"/>
                        </a:lnTo>
                        <a:lnTo>
                          <a:pt x="757" y="204"/>
                        </a:lnTo>
                        <a:lnTo>
                          <a:pt x="759" y="204"/>
                        </a:lnTo>
                        <a:lnTo>
                          <a:pt x="761" y="204"/>
                        </a:lnTo>
                        <a:lnTo>
                          <a:pt x="764" y="204"/>
                        </a:lnTo>
                        <a:lnTo>
                          <a:pt x="768" y="206"/>
                        </a:lnTo>
                        <a:lnTo>
                          <a:pt x="771" y="209"/>
                        </a:lnTo>
                        <a:lnTo>
                          <a:pt x="773" y="211"/>
                        </a:lnTo>
                        <a:lnTo>
                          <a:pt x="773" y="213"/>
                        </a:lnTo>
                        <a:lnTo>
                          <a:pt x="773" y="213"/>
                        </a:lnTo>
                        <a:lnTo>
                          <a:pt x="773" y="216"/>
                        </a:lnTo>
                        <a:lnTo>
                          <a:pt x="771" y="221"/>
                        </a:lnTo>
                        <a:lnTo>
                          <a:pt x="768" y="223"/>
                        </a:lnTo>
                        <a:lnTo>
                          <a:pt x="768" y="225"/>
                        </a:lnTo>
                        <a:lnTo>
                          <a:pt x="768" y="228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27" name="Freeform 17">
                    <a:extLst>
                      <a:ext uri="{FF2B5EF4-FFF2-40B4-BE49-F238E27FC236}">
                        <a16:creationId xmlns:a16="http://schemas.microsoft.com/office/drawing/2014/main" id="{E93AF9CA-54FF-4AD1-B4D2-6F3B2FEFFC7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4330120" y="4487984"/>
                    <a:ext cx="702445" cy="1324078"/>
                  </a:xfrm>
                  <a:custGeom>
                    <a:avLst/>
                    <a:gdLst>
                      <a:gd name="T0" fmla="*/ 381 w 552"/>
                      <a:gd name="T1" fmla="*/ 2 h 1041"/>
                      <a:gd name="T2" fmla="*/ 407 w 552"/>
                      <a:gd name="T3" fmla="*/ 11 h 1041"/>
                      <a:gd name="T4" fmla="*/ 398 w 552"/>
                      <a:gd name="T5" fmla="*/ 21 h 1041"/>
                      <a:gd name="T6" fmla="*/ 114 w 552"/>
                      <a:gd name="T7" fmla="*/ 955 h 1041"/>
                      <a:gd name="T8" fmla="*/ 31 w 552"/>
                      <a:gd name="T9" fmla="*/ 120 h 1041"/>
                      <a:gd name="T10" fmla="*/ 48 w 552"/>
                      <a:gd name="T11" fmla="*/ 101 h 1041"/>
                      <a:gd name="T12" fmla="*/ 17 w 552"/>
                      <a:gd name="T13" fmla="*/ 146 h 1041"/>
                      <a:gd name="T14" fmla="*/ 173 w 552"/>
                      <a:gd name="T15" fmla="*/ 972 h 1041"/>
                      <a:gd name="T16" fmla="*/ 135 w 552"/>
                      <a:gd name="T17" fmla="*/ 958 h 1041"/>
                      <a:gd name="T18" fmla="*/ 178 w 552"/>
                      <a:gd name="T19" fmla="*/ 960 h 1041"/>
                      <a:gd name="T20" fmla="*/ 523 w 552"/>
                      <a:gd name="T21" fmla="*/ 265 h 1041"/>
                      <a:gd name="T22" fmla="*/ 495 w 552"/>
                      <a:gd name="T23" fmla="*/ 179 h 1041"/>
                      <a:gd name="T24" fmla="*/ 481 w 552"/>
                      <a:gd name="T25" fmla="*/ 153 h 1041"/>
                      <a:gd name="T26" fmla="*/ 450 w 552"/>
                      <a:gd name="T27" fmla="*/ 144 h 1041"/>
                      <a:gd name="T28" fmla="*/ 448 w 552"/>
                      <a:gd name="T29" fmla="*/ 125 h 1041"/>
                      <a:gd name="T30" fmla="*/ 448 w 552"/>
                      <a:gd name="T31" fmla="*/ 99 h 1041"/>
                      <a:gd name="T32" fmla="*/ 433 w 552"/>
                      <a:gd name="T33" fmla="*/ 99 h 1041"/>
                      <a:gd name="T34" fmla="*/ 438 w 552"/>
                      <a:gd name="T35" fmla="*/ 54 h 1041"/>
                      <a:gd name="T36" fmla="*/ 422 w 552"/>
                      <a:gd name="T37" fmla="*/ 47 h 1041"/>
                      <a:gd name="T38" fmla="*/ 400 w 552"/>
                      <a:gd name="T39" fmla="*/ 61 h 1041"/>
                      <a:gd name="T40" fmla="*/ 388 w 552"/>
                      <a:gd name="T41" fmla="*/ 33 h 1041"/>
                      <a:gd name="T42" fmla="*/ 348 w 552"/>
                      <a:gd name="T43" fmla="*/ 33 h 1041"/>
                      <a:gd name="T44" fmla="*/ 336 w 552"/>
                      <a:gd name="T45" fmla="*/ 9 h 1041"/>
                      <a:gd name="T46" fmla="*/ 301 w 552"/>
                      <a:gd name="T47" fmla="*/ 52 h 1041"/>
                      <a:gd name="T48" fmla="*/ 237 w 552"/>
                      <a:gd name="T49" fmla="*/ 113 h 1041"/>
                      <a:gd name="T50" fmla="*/ 175 w 552"/>
                      <a:gd name="T51" fmla="*/ 168 h 1041"/>
                      <a:gd name="T52" fmla="*/ 24 w 552"/>
                      <a:gd name="T53" fmla="*/ 184 h 1041"/>
                      <a:gd name="T54" fmla="*/ 12 w 552"/>
                      <a:gd name="T55" fmla="*/ 187 h 1041"/>
                      <a:gd name="T56" fmla="*/ 22 w 552"/>
                      <a:gd name="T57" fmla="*/ 284 h 1041"/>
                      <a:gd name="T58" fmla="*/ 17 w 552"/>
                      <a:gd name="T59" fmla="*/ 328 h 1041"/>
                      <a:gd name="T60" fmla="*/ 71 w 552"/>
                      <a:gd name="T61" fmla="*/ 354 h 1041"/>
                      <a:gd name="T62" fmla="*/ 128 w 552"/>
                      <a:gd name="T63" fmla="*/ 442 h 1041"/>
                      <a:gd name="T64" fmla="*/ 123 w 552"/>
                      <a:gd name="T65" fmla="*/ 546 h 1041"/>
                      <a:gd name="T66" fmla="*/ 116 w 552"/>
                      <a:gd name="T67" fmla="*/ 598 h 1041"/>
                      <a:gd name="T68" fmla="*/ 133 w 552"/>
                      <a:gd name="T69" fmla="*/ 617 h 1041"/>
                      <a:gd name="T70" fmla="*/ 171 w 552"/>
                      <a:gd name="T71" fmla="*/ 622 h 1041"/>
                      <a:gd name="T72" fmla="*/ 168 w 552"/>
                      <a:gd name="T73" fmla="*/ 662 h 1041"/>
                      <a:gd name="T74" fmla="*/ 138 w 552"/>
                      <a:gd name="T75" fmla="*/ 672 h 1041"/>
                      <a:gd name="T76" fmla="*/ 142 w 552"/>
                      <a:gd name="T77" fmla="*/ 776 h 1041"/>
                      <a:gd name="T78" fmla="*/ 147 w 552"/>
                      <a:gd name="T79" fmla="*/ 849 h 1041"/>
                      <a:gd name="T80" fmla="*/ 147 w 552"/>
                      <a:gd name="T81" fmla="*/ 915 h 1041"/>
                      <a:gd name="T82" fmla="*/ 171 w 552"/>
                      <a:gd name="T83" fmla="*/ 939 h 1041"/>
                      <a:gd name="T84" fmla="*/ 204 w 552"/>
                      <a:gd name="T85" fmla="*/ 963 h 1041"/>
                      <a:gd name="T86" fmla="*/ 239 w 552"/>
                      <a:gd name="T87" fmla="*/ 1041 h 1041"/>
                      <a:gd name="T88" fmla="*/ 303 w 552"/>
                      <a:gd name="T89" fmla="*/ 1026 h 1041"/>
                      <a:gd name="T90" fmla="*/ 358 w 552"/>
                      <a:gd name="T91" fmla="*/ 972 h 1041"/>
                      <a:gd name="T92" fmla="*/ 367 w 552"/>
                      <a:gd name="T93" fmla="*/ 880 h 1041"/>
                      <a:gd name="T94" fmla="*/ 343 w 552"/>
                      <a:gd name="T95" fmla="*/ 861 h 1041"/>
                      <a:gd name="T96" fmla="*/ 403 w 552"/>
                      <a:gd name="T97" fmla="*/ 877 h 1041"/>
                      <a:gd name="T98" fmla="*/ 464 w 552"/>
                      <a:gd name="T99" fmla="*/ 882 h 1041"/>
                      <a:gd name="T100" fmla="*/ 511 w 552"/>
                      <a:gd name="T101" fmla="*/ 903 h 1041"/>
                      <a:gd name="T102" fmla="*/ 528 w 552"/>
                      <a:gd name="T103" fmla="*/ 866 h 1041"/>
                      <a:gd name="T104" fmla="*/ 535 w 552"/>
                      <a:gd name="T105" fmla="*/ 780 h 1041"/>
                      <a:gd name="T106" fmla="*/ 540 w 552"/>
                      <a:gd name="T107" fmla="*/ 645 h 1041"/>
                      <a:gd name="T108" fmla="*/ 535 w 552"/>
                      <a:gd name="T109" fmla="*/ 579 h 1041"/>
                      <a:gd name="T110" fmla="*/ 540 w 552"/>
                      <a:gd name="T111" fmla="*/ 546 h 1041"/>
                      <a:gd name="T112" fmla="*/ 504 w 552"/>
                      <a:gd name="T113" fmla="*/ 442 h 1041"/>
                      <a:gd name="T114" fmla="*/ 537 w 552"/>
                      <a:gd name="T115" fmla="*/ 354 h 10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</a:cxnLst>
                    <a:rect l="0" t="0" r="r" b="b"/>
                    <a:pathLst>
                      <a:path w="552" h="1041">
                        <a:moveTo>
                          <a:pt x="393" y="16"/>
                        </a:moveTo>
                        <a:lnTo>
                          <a:pt x="393" y="16"/>
                        </a:lnTo>
                        <a:lnTo>
                          <a:pt x="393" y="16"/>
                        </a:lnTo>
                        <a:lnTo>
                          <a:pt x="381" y="21"/>
                        </a:lnTo>
                        <a:lnTo>
                          <a:pt x="377" y="21"/>
                        </a:lnTo>
                        <a:lnTo>
                          <a:pt x="374" y="19"/>
                        </a:lnTo>
                        <a:lnTo>
                          <a:pt x="374" y="14"/>
                        </a:lnTo>
                        <a:lnTo>
                          <a:pt x="374" y="11"/>
                        </a:lnTo>
                        <a:lnTo>
                          <a:pt x="377" y="11"/>
                        </a:lnTo>
                        <a:lnTo>
                          <a:pt x="379" y="9"/>
                        </a:lnTo>
                        <a:lnTo>
                          <a:pt x="381" y="7"/>
                        </a:lnTo>
                        <a:lnTo>
                          <a:pt x="381" y="2"/>
                        </a:lnTo>
                        <a:lnTo>
                          <a:pt x="381" y="2"/>
                        </a:lnTo>
                        <a:lnTo>
                          <a:pt x="384" y="0"/>
                        </a:lnTo>
                        <a:lnTo>
                          <a:pt x="386" y="0"/>
                        </a:lnTo>
                        <a:lnTo>
                          <a:pt x="388" y="0"/>
                        </a:lnTo>
                        <a:lnTo>
                          <a:pt x="391" y="2"/>
                        </a:lnTo>
                        <a:lnTo>
                          <a:pt x="391" y="4"/>
                        </a:lnTo>
                        <a:lnTo>
                          <a:pt x="391" y="9"/>
                        </a:lnTo>
                        <a:lnTo>
                          <a:pt x="391" y="11"/>
                        </a:lnTo>
                        <a:lnTo>
                          <a:pt x="393" y="14"/>
                        </a:lnTo>
                        <a:lnTo>
                          <a:pt x="393" y="16"/>
                        </a:lnTo>
                        <a:close/>
                        <a:moveTo>
                          <a:pt x="407" y="11"/>
                        </a:moveTo>
                        <a:lnTo>
                          <a:pt x="407" y="11"/>
                        </a:lnTo>
                        <a:lnTo>
                          <a:pt x="407" y="11"/>
                        </a:lnTo>
                        <a:lnTo>
                          <a:pt x="407" y="16"/>
                        </a:lnTo>
                        <a:lnTo>
                          <a:pt x="407" y="28"/>
                        </a:lnTo>
                        <a:lnTo>
                          <a:pt x="407" y="30"/>
                        </a:lnTo>
                        <a:lnTo>
                          <a:pt x="407" y="33"/>
                        </a:lnTo>
                        <a:lnTo>
                          <a:pt x="407" y="35"/>
                        </a:lnTo>
                        <a:lnTo>
                          <a:pt x="405" y="35"/>
                        </a:lnTo>
                        <a:lnTo>
                          <a:pt x="403" y="33"/>
                        </a:lnTo>
                        <a:lnTo>
                          <a:pt x="400" y="30"/>
                        </a:lnTo>
                        <a:lnTo>
                          <a:pt x="398" y="30"/>
                        </a:lnTo>
                        <a:lnTo>
                          <a:pt x="395" y="30"/>
                        </a:lnTo>
                        <a:lnTo>
                          <a:pt x="398" y="21"/>
                        </a:lnTo>
                        <a:lnTo>
                          <a:pt x="398" y="19"/>
                        </a:lnTo>
                        <a:lnTo>
                          <a:pt x="398" y="16"/>
                        </a:lnTo>
                        <a:lnTo>
                          <a:pt x="400" y="9"/>
                        </a:lnTo>
                        <a:lnTo>
                          <a:pt x="400" y="4"/>
                        </a:lnTo>
                        <a:lnTo>
                          <a:pt x="403" y="7"/>
                        </a:lnTo>
                        <a:lnTo>
                          <a:pt x="405" y="7"/>
                        </a:lnTo>
                        <a:lnTo>
                          <a:pt x="407" y="11"/>
                        </a:lnTo>
                        <a:close/>
                        <a:moveTo>
                          <a:pt x="116" y="927"/>
                        </a:moveTo>
                        <a:lnTo>
                          <a:pt x="116" y="927"/>
                        </a:lnTo>
                        <a:lnTo>
                          <a:pt x="121" y="944"/>
                        </a:lnTo>
                        <a:lnTo>
                          <a:pt x="119" y="951"/>
                        </a:lnTo>
                        <a:lnTo>
                          <a:pt x="114" y="955"/>
                        </a:lnTo>
                        <a:lnTo>
                          <a:pt x="107" y="955"/>
                        </a:lnTo>
                        <a:lnTo>
                          <a:pt x="102" y="953"/>
                        </a:lnTo>
                        <a:lnTo>
                          <a:pt x="102" y="948"/>
                        </a:lnTo>
                        <a:lnTo>
                          <a:pt x="102" y="946"/>
                        </a:lnTo>
                        <a:lnTo>
                          <a:pt x="95" y="937"/>
                        </a:lnTo>
                        <a:lnTo>
                          <a:pt x="90" y="932"/>
                        </a:lnTo>
                        <a:lnTo>
                          <a:pt x="93" y="925"/>
                        </a:lnTo>
                        <a:lnTo>
                          <a:pt x="97" y="922"/>
                        </a:lnTo>
                        <a:lnTo>
                          <a:pt x="112" y="918"/>
                        </a:lnTo>
                        <a:lnTo>
                          <a:pt x="116" y="915"/>
                        </a:lnTo>
                        <a:lnTo>
                          <a:pt x="116" y="927"/>
                        </a:lnTo>
                        <a:close/>
                        <a:moveTo>
                          <a:pt x="31" y="120"/>
                        </a:moveTo>
                        <a:lnTo>
                          <a:pt x="31" y="120"/>
                        </a:lnTo>
                        <a:lnTo>
                          <a:pt x="31" y="116"/>
                        </a:lnTo>
                        <a:lnTo>
                          <a:pt x="31" y="108"/>
                        </a:lnTo>
                        <a:lnTo>
                          <a:pt x="31" y="104"/>
                        </a:lnTo>
                        <a:lnTo>
                          <a:pt x="34" y="104"/>
                        </a:lnTo>
                        <a:lnTo>
                          <a:pt x="38" y="104"/>
                        </a:lnTo>
                        <a:lnTo>
                          <a:pt x="41" y="101"/>
                        </a:lnTo>
                        <a:lnTo>
                          <a:pt x="41" y="101"/>
                        </a:lnTo>
                        <a:lnTo>
                          <a:pt x="41" y="99"/>
                        </a:lnTo>
                        <a:lnTo>
                          <a:pt x="45" y="94"/>
                        </a:lnTo>
                        <a:lnTo>
                          <a:pt x="45" y="99"/>
                        </a:lnTo>
                        <a:lnTo>
                          <a:pt x="48" y="101"/>
                        </a:lnTo>
                        <a:lnTo>
                          <a:pt x="48" y="104"/>
                        </a:lnTo>
                        <a:lnTo>
                          <a:pt x="52" y="106"/>
                        </a:lnTo>
                        <a:lnTo>
                          <a:pt x="52" y="111"/>
                        </a:lnTo>
                        <a:lnTo>
                          <a:pt x="52" y="116"/>
                        </a:lnTo>
                        <a:lnTo>
                          <a:pt x="50" y="120"/>
                        </a:lnTo>
                        <a:lnTo>
                          <a:pt x="31" y="125"/>
                        </a:lnTo>
                        <a:lnTo>
                          <a:pt x="24" y="132"/>
                        </a:lnTo>
                        <a:lnTo>
                          <a:pt x="26" y="144"/>
                        </a:lnTo>
                        <a:lnTo>
                          <a:pt x="26" y="153"/>
                        </a:lnTo>
                        <a:lnTo>
                          <a:pt x="15" y="153"/>
                        </a:lnTo>
                        <a:lnTo>
                          <a:pt x="17" y="149"/>
                        </a:lnTo>
                        <a:lnTo>
                          <a:pt x="17" y="146"/>
                        </a:lnTo>
                        <a:lnTo>
                          <a:pt x="17" y="142"/>
                        </a:lnTo>
                        <a:lnTo>
                          <a:pt x="17" y="137"/>
                        </a:lnTo>
                        <a:lnTo>
                          <a:pt x="17" y="134"/>
                        </a:lnTo>
                        <a:lnTo>
                          <a:pt x="22" y="130"/>
                        </a:lnTo>
                        <a:lnTo>
                          <a:pt x="26" y="123"/>
                        </a:lnTo>
                        <a:lnTo>
                          <a:pt x="31" y="120"/>
                        </a:lnTo>
                        <a:close/>
                        <a:moveTo>
                          <a:pt x="178" y="960"/>
                        </a:moveTo>
                        <a:lnTo>
                          <a:pt x="178" y="960"/>
                        </a:lnTo>
                        <a:lnTo>
                          <a:pt x="180" y="960"/>
                        </a:lnTo>
                        <a:lnTo>
                          <a:pt x="173" y="967"/>
                        </a:lnTo>
                        <a:lnTo>
                          <a:pt x="173" y="970"/>
                        </a:lnTo>
                        <a:lnTo>
                          <a:pt x="173" y="972"/>
                        </a:lnTo>
                        <a:lnTo>
                          <a:pt x="171" y="979"/>
                        </a:lnTo>
                        <a:lnTo>
                          <a:pt x="171" y="993"/>
                        </a:lnTo>
                        <a:lnTo>
                          <a:pt x="168" y="1005"/>
                        </a:lnTo>
                        <a:lnTo>
                          <a:pt x="166" y="1007"/>
                        </a:lnTo>
                        <a:lnTo>
                          <a:pt x="164" y="1007"/>
                        </a:lnTo>
                        <a:lnTo>
                          <a:pt x="159" y="1007"/>
                        </a:lnTo>
                        <a:lnTo>
                          <a:pt x="159" y="1007"/>
                        </a:lnTo>
                        <a:lnTo>
                          <a:pt x="157" y="1003"/>
                        </a:lnTo>
                        <a:lnTo>
                          <a:pt x="157" y="1000"/>
                        </a:lnTo>
                        <a:lnTo>
                          <a:pt x="142" y="981"/>
                        </a:lnTo>
                        <a:lnTo>
                          <a:pt x="135" y="967"/>
                        </a:lnTo>
                        <a:lnTo>
                          <a:pt x="135" y="958"/>
                        </a:lnTo>
                        <a:lnTo>
                          <a:pt x="135" y="955"/>
                        </a:lnTo>
                        <a:lnTo>
                          <a:pt x="133" y="955"/>
                        </a:lnTo>
                        <a:lnTo>
                          <a:pt x="133" y="953"/>
                        </a:lnTo>
                        <a:lnTo>
                          <a:pt x="138" y="944"/>
                        </a:lnTo>
                        <a:lnTo>
                          <a:pt x="145" y="948"/>
                        </a:lnTo>
                        <a:lnTo>
                          <a:pt x="157" y="946"/>
                        </a:lnTo>
                        <a:lnTo>
                          <a:pt x="166" y="948"/>
                        </a:lnTo>
                        <a:lnTo>
                          <a:pt x="171" y="960"/>
                        </a:lnTo>
                        <a:lnTo>
                          <a:pt x="171" y="963"/>
                        </a:lnTo>
                        <a:lnTo>
                          <a:pt x="173" y="963"/>
                        </a:lnTo>
                        <a:lnTo>
                          <a:pt x="175" y="963"/>
                        </a:lnTo>
                        <a:lnTo>
                          <a:pt x="178" y="960"/>
                        </a:lnTo>
                        <a:lnTo>
                          <a:pt x="178" y="960"/>
                        </a:lnTo>
                        <a:lnTo>
                          <a:pt x="178" y="960"/>
                        </a:lnTo>
                        <a:close/>
                        <a:moveTo>
                          <a:pt x="549" y="291"/>
                        </a:moveTo>
                        <a:lnTo>
                          <a:pt x="549" y="291"/>
                        </a:lnTo>
                        <a:lnTo>
                          <a:pt x="537" y="284"/>
                        </a:lnTo>
                        <a:lnTo>
                          <a:pt x="537" y="279"/>
                        </a:lnTo>
                        <a:lnTo>
                          <a:pt x="535" y="274"/>
                        </a:lnTo>
                        <a:lnTo>
                          <a:pt x="535" y="272"/>
                        </a:lnTo>
                        <a:lnTo>
                          <a:pt x="530" y="272"/>
                        </a:lnTo>
                        <a:lnTo>
                          <a:pt x="528" y="272"/>
                        </a:lnTo>
                        <a:lnTo>
                          <a:pt x="526" y="267"/>
                        </a:lnTo>
                        <a:lnTo>
                          <a:pt x="523" y="265"/>
                        </a:lnTo>
                        <a:lnTo>
                          <a:pt x="519" y="239"/>
                        </a:lnTo>
                        <a:lnTo>
                          <a:pt x="519" y="231"/>
                        </a:lnTo>
                        <a:lnTo>
                          <a:pt x="507" y="215"/>
                        </a:lnTo>
                        <a:lnTo>
                          <a:pt x="504" y="205"/>
                        </a:lnTo>
                        <a:lnTo>
                          <a:pt x="500" y="201"/>
                        </a:lnTo>
                        <a:lnTo>
                          <a:pt x="490" y="189"/>
                        </a:lnTo>
                        <a:lnTo>
                          <a:pt x="488" y="184"/>
                        </a:lnTo>
                        <a:lnTo>
                          <a:pt x="488" y="189"/>
                        </a:lnTo>
                        <a:lnTo>
                          <a:pt x="483" y="184"/>
                        </a:lnTo>
                        <a:lnTo>
                          <a:pt x="485" y="182"/>
                        </a:lnTo>
                        <a:lnTo>
                          <a:pt x="488" y="179"/>
                        </a:lnTo>
                        <a:lnTo>
                          <a:pt x="495" y="179"/>
                        </a:lnTo>
                        <a:lnTo>
                          <a:pt x="492" y="177"/>
                        </a:lnTo>
                        <a:lnTo>
                          <a:pt x="490" y="172"/>
                        </a:lnTo>
                        <a:lnTo>
                          <a:pt x="492" y="168"/>
                        </a:lnTo>
                        <a:lnTo>
                          <a:pt x="502" y="163"/>
                        </a:lnTo>
                        <a:lnTo>
                          <a:pt x="500" y="163"/>
                        </a:lnTo>
                        <a:lnTo>
                          <a:pt x="495" y="163"/>
                        </a:lnTo>
                        <a:lnTo>
                          <a:pt x="492" y="160"/>
                        </a:lnTo>
                        <a:lnTo>
                          <a:pt x="490" y="156"/>
                        </a:lnTo>
                        <a:lnTo>
                          <a:pt x="485" y="160"/>
                        </a:lnTo>
                        <a:lnTo>
                          <a:pt x="483" y="160"/>
                        </a:lnTo>
                        <a:lnTo>
                          <a:pt x="481" y="158"/>
                        </a:lnTo>
                        <a:lnTo>
                          <a:pt x="481" y="153"/>
                        </a:lnTo>
                        <a:lnTo>
                          <a:pt x="478" y="151"/>
                        </a:lnTo>
                        <a:lnTo>
                          <a:pt x="466" y="146"/>
                        </a:lnTo>
                        <a:lnTo>
                          <a:pt x="466" y="144"/>
                        </a:lnTo>
                        <a:lnTo>
                          <a:pt x="469" y="144"/>
                        </a:lnTo>
                        <a:lnTo>
                          <a:pt x="471" y="142"/>
                        </a:lnTo>
                        <a:lnTo>
                          <a:pt x="471" y="139"/>
                        </a:lnTo>
                        <a:lnTo>
                          <a:pt x="474" y="134"/>
                        </a:lnTo>
                        <a:lnTo>
                          <a:pt x="466" y="134"/>
                        </a:lnTo>
                        <a:lnTo>
                          <a:pt x="462" y="137"/>
                        </a:lnTo>
                        <a:lnTo>
                          <a:pt x="459" y="142"/>
                        </a:lnTo>
                        <a:lnTo>
                          <a:pt x="452" y="144"/>
                        </a:lnTo>
                        <a:lnTo>
                          <a:pt x="450" y="144"/>
                        </a:lnTo>
                        <a:lnTo>
                          <a:pt x="445" y="139"/>
                        </a:lnTo>
                        <a:lnTo>
                          <a:pt x="440" y="139"/>
                        </a:lnTo>
                        <a:lnTo>
                          <a:pt x="438" y="139"/>
                        </a:lnTo>
                        <a:lnTo>
                          <a:pt x="436" y="142"/>
                        </a:lnTo>
                        <a:lnTo>
                          <a:pt x="433" y="142"/>
                        </a:lnTo>
                        <a:lnTo>
                          <a:pt x="429" y="137"/>
                        </a:lnTo>
                        <a:lnTo>
                          <a:pt x="431" y="137"/>
                        </a:lnTo>
                        <a:lnTo>
                          <a:pt x="431" y="137"/>
                        </a:lnTo>
                        <a:lnTo>
                          <a:pt x="431" y="134"/>
                        </a:lnTo>
                        <a:lnTo>
                          <a:pt x="445" y="134"/>
                        </a:lnTo>
                        <a:lnTo>
                          <a:pt x="450" y="132"/>
                        </a:lnTo>
                        <a:lnTo>
                          <a:pt x="448" y="125"/>
                        </a:lnTo>
                        <a:lnTo>
                          <a:pt x="452" y="120"/>
                        </a:lnTo>
                        <a:lnTo>
                          <a:pt x="452" y="111"/>
                        </a:lnTo>
                        <a:lnTo>
                          <a:pt x="452" y="106"/>
                        </a:lnTo>
                        <a:lnTo>
                          <a:pt x="457" y="101"/>
                        </a:lnTo>
                        <a:lnTo>
                          <a:pt x="462" y="104"/>
                        </a:lnTo>
                        <a:lnTo>
                          <a:pt x="469" y="104"/>
                        </a:lnTo>
                        <a:lnTo>
                          <a:pt x="474" y="104"/>
                        </a:lnTo>
                        <a:lnTo>
                          <a:pt x="476" y="99"/>
                        </a:lnTo>
                        <a:lnTo>
                          <a:pt x="469" y="97"/>
                        </a:lnTo>
                        <a:lnTo>
                          <a:pt x="459" y="94"/>
                        </a:lnTo>
                        <a:lnTo>
                          <a:pt x="452" y="94"/>
                        </a:lnTo>
                        <a:lnTo>
                          <a:pt x="448" y="99"/>
                        </a:lnTo>
                        <a:lnTo>
                          <a:pt x="445" y="99"/>
                        </a:lnTo>
                        <a:lnTo>
                          <a:pt x="445" y="99"/>
                        </a:lnTo>
                        <a:lnTo>
                          <a:pt x="443" y="97"/>
                        </a:lnTo>
                        <a:lnTo>
                          <a:pt x="443" y="99"/>
                        </a:lnTo>
                        <a:lnTo>
                          <a:pt x="443" y="99"/>
                        </a:lnTo>
                        <a:lnTo>
                          <a:pt x="443" y="101"/>
                        </a:lnTo>
                        <a:lnTo>
                          <a:pt x="440" y="101"/>
                        </a:lnTo>
                        <a:lnTo>
                          <a:pt x="443" y="94"/>
                        </a:lnTo>
                        <a:lnTo>
                          <a:pt x="440" y="90"/>
                        </a:lnTo>
                        <a:lnTo>
                          <a:pt x="436" y="90"/>
                        </a:lnTo>
                        <a:lnTo>
                          <a:pt x="431" y="92"/>
                        </a:lnTo>
                        <a:lnTo>
                          <a:pt x="433" y="99"/>
                        </a:lnTo>
                        <a:lnTo>
                          <a:pt x="429" y="99"/>
                        </a:lnTo>
                        <a:lnTo>
                          <a:pt x="431" y="92"/>
                        </a:lnTo>
                        <a:lnTo>
                          <a:pt x="433" y="66"/>
                        </a:lnTo>
                        <a:lnTo>
                          <a:pt x="433" y="68"/>
                        </a:lnTo>
                        <a:lnTo>
                          <a:pt x="436" y="71"/>
                        </a:lnTo>
                        <a:lnTo>
                          <a:pt x="436" y="73"/>
                        </a:lnTo>
                        <a:lnTo>
                          <a:pt x="438" y="68"/>
                        </a:lnTo>
                        <a:lnTo>
                          <a:pt x="440" y="63"/>
                        </a:lnTo>
                        <a:lnTo>
                          <a:pt x="440" y="59"/>
                        </a:lnTo>
                        <a:lnTo>
                          <a:pt x="440" y="54"/>
                        </a:lnTo>
                        <a:lnTo>
                          <a:pt x="438" y="52"/>
                        </a:lnTo>
                        <a:lnTo>
                          <a:pt x="438" y="54"/>
                        </a:lnTo>
                        <a:lnTo>
                          <a:pt x="438" y="52"/>
                        </a:lnTo>
                        <a:lnTo>
                          <a:pt x="438" y="52"/>
                        </a:lnTo>
                        <a:lnTo>
                          <a:pt x="436" y="52"/>
                        </a:lnTo>
                        <a:lnTo>
                          <a:pt x="433" y="54"/>
                        </a:lnTo>
                        <a:lnTo>
                          <a:pt x="431" y="54"/>
                        </a:lnTo>
                        <a:lnTo>
                          <a:pt x="429" y="52"/>
                        </a:lnTo>
                        <a:lnTo>
                          <a:pt x="426" y="49"/>
                        </a:lnTo>
                        <a:lnTo>
                          <a:pt x="429" y="47"/>
                        </a:lnTo>
                        <a:lnTo>
                          <a:pt x="426" y="42"/>
                        </a:lnTo>
                        <a:lnTo>
                          <a:pt x="424" y="42"/>
                        </a:lnTo>
                        <a:lnTo>
                          <a:pt x="422" y="45"/>
                        </a:lnTo>
                        <a:lnTo>
                          <a:pt x="422" y="47"/>
                        </a:lnTo>
                        <a:lnTo>
                          <a:pt x="417" y="47"/>
                        </a:lnTo>
                        <a:lnTo>
                          <a:pt x="412" y="45"/>
                        </a:lnTo>
                        <a:lnTo>
                          <a:pt x="407" y="47"/>
                        </a:lnTo>
                        <a:lnTo>
                          <a:pt x="405" y="49"/>
                        </a:lnTo>
                        <a:lnTo>
                          <a:pt x="407" y="49"/>
                        </a:lnTo>
                        <a:lnTo>
                          <a:pt x="407" y="52"/>
                        </a:lnTo>
                        <a:lnTo>
                          <a:pt x="407" y="52"/>
                        </a:lnTo>
                        <a:lnTo>
                          <a:pt x="410" y="54"/>
                        </a:lnTo>
                        <a:lnTo>
                          <a:pt x="407" y="56"/>
                        </a:lnTo>
                        <a:lnTo>
                          <a:pt x="405" y="61"/>
                        </a:lnTo>
                        <a:lnTo>
                          <a:pt x="403" y="71"/>
                        </a:lnTo>
                        <a:lnTo>
                          <a:pt x="400" y="61"/>
                        </a:lnTo>
                        <a:lnTo>
                          <a:pt x="398" y="56"/>
                        </a:lnTo>
                        <a:lnTo>
                          <a:pt x="400" y="52"/>
                        </a:lnTo>
                        <a:lnTo>
                          <a:pt x="398" y="49"/>
                        </a:lnTo>
                        <a:lnTo>
                          <a:pt x="395" y="47"/>
                        </a:lnTo>
                        <a:lnTo>
                          <a:pt x="393" y="42"/>
                        </a:lnTo>
                        <a:lnTo>
                          <a:pt x="388" y="42"/>
                        </a:lnTo>
                        <a:lnTo>
                          <a:pt x="388" y="40"/>
                        </a:lnTo>
                        <a:lnTo>
                          <a:pt x="388" y="37"/>
                        </a:lnTo>
                        <a:lnTo>
                          <a:pt x="391" y="37"/>
                        </a:lnTo>
                        <a:lnTo>
                          <a:pt x="391" y="35"/>
                        </a:lnTo>
                        <a:lnTo>
                          <a:pt x="391" y="33"/>
                        </a:lnTo>
                        <a:lnTo>
                          <a:pt x="388" y="33"/>
                        </a:lnTo>
                        <a:lnTo>
                          <a:pt x="386" y="33"/>
                        </a:lnTo>
                        <a:lnTo>
                          <a:pt x="384" y="33"/>
                        </a:lnTo>
                        <a:lnTo>
                          <a:pt x="381" y="30"/>
                        </a:lnTo>
                        <a:lnTo>
                          <a:pt x="381" y="35"/>
                        </a:lnTo>
                        <a:lnTo>
                          <a:pt x="367" y="23"/>
                        </a:lnTo>
                        <a:lnTo>
                          <a:pt x="362" y="23"/>
                        </a:lnTo>
                        <a:lnTo>
                          <a:pt x="362" y="33"/>
                        </a:lnTo>
                        <a:lnTo>
                          <a:pt x="358" y="30"/>
                        </a:lnTo>
                        <a:lnTo>
                          <a:pt x="355" y="28"/>
                        </a:lnTo>
                        <a:lnTo>
                          <a:pt x="353" y="30"/>
                        </a:lnTo>
                        <a:lnTo>
                          <a:pt x="353" y="30"/>
                        </a:lnTo>
                        <a:lnTo>
                          <a:pt x="348" y="33"/>
                        </a:lnTo>
                        <a:lnTo>
                          <a:pt x="348" y="30"/>
                        </a:lnTo>
                        <a:lnTo>
                          <a:pt x="348" y="28"/>
                        </a:lnTo>
                        <a:lnTo>
                          <a:pt x="348" y="26"/>
                        </a:lnTo>
                        <a:lnTo>
                          <a:pt x="346" y="21"/>
                        </a:lnTo>
                        <a:lnTo>
                          <a:pt x="343" y="21"/>
                        </a:lnTo>
                        <a:lnTo>
                          <a:pt x="343" y="26"/>
                        </a:lnTo>
                        <a:lnTo>
                          <a:pt x="343" y="28"/>
                        </a:lnTo>
                        <a:lnTo>
                          <a:pt x="343" y="30"/>
                        </a:lnTo>
                        <a:lnTo>
                          <a:pt x="346" y="33"/>
                        </a:lnTo>
                        <a:lnTo>
                          <a:pt x="341" y="30"/>
                        </a:lnTo>
                        <a:lnTo>
                          <a:pt x="341" y="14"/>
                        </a:lnTo>
                        <a:lnTo>
                          <a:pt x="336" y="9"/>
                        </a:lnTo>
                        <a:lnTo>
                          <a:pt x="334" y="11"/>
                        </a:lnTo>
                        <a:lnTo>
                          <a:pt x="329" y="11"/>
                        </a:lnTo>
                        <a:lnTo>
                          <a:pt x="327" y="9"/>
                        </a:lnTo>
                        <a:lnTo>
                          <a:pt x="327" y="4"/>
                        </a:lnTo>
                        <a:lnTo>
                          <a:pt x="322" y="9"/>
                        </a:lnTo>
                        <a:lnTo>
                          <a:pt x="315" y="11"/>
                        </a:lnTo>
                        <a:lnTo>
                          <a:pt x="308" y="16"/>
                        </a:lnTo>
                        <a:lnTo>
                          <a:pt x="308" y="23"/>
                        </a:lnTo>
                        <a:lnTo>
                          <a:pt x="310" y="40"/>
                        </a:lnTo>
                        <a:lnTo>
                          <a:pt x="308" y="47"/>
                        </a:lnTo>
                        <a:lnTo>
                          <a:pt x="303" y="54"/>
                        </a:lnTo>
                        <a:lnTo>
                          <a:pt x="301" y="52"/>
                        </a:lnTo>
                        <a:lnTo>
                          <a:pt x="294" y="61"/>
                        </a:lnTo>
                        <a:lnTo>
                          <a:pt x="289" y="63"/>
                        </a:lnTo>
                        <a:lnTo>
                          <a:pt x="268" y="68"/>
                        </a:lnTo>
                        <a:lnTo>
                          <a:pt x="261" y="73"/>
                        </a:lnTo>
                        <a:lnTo>
                          <a:pt x="258" y="85"/>
                        </a:lnTo>
                        <a:lnTo>
                          <a:pt x="254" y="92"/>
                        </a:lnTo>
                        <a:lnTo>
                          <a:pt x="249" y="97"/>
                        </a:lnTo>
                        <a:lnTo>
                          <a:pt x="246" y="99"/>
                        </a:lnTo>
                        <a:lnTo>
                          <a:pt x="244" y="101"/>
                        </a:lnTo>
                        <a:lnTo>
                          <a:pt x="242" y="108"/>
                        </a:lnTo>
                        <a:lnTo>
                          <a:pt x="239" y="113"/>
                        </a:lnTo>
                        <a:lnTo>
                          <a:pt x="237" y="113"/>
                        </a:lnTo>
                        <a:lnTo>
                          <a:pt x="228" y="118"/>
                        </a:lnTo>
                        <a:lnTo>
                          <a:pt x="228" y="120"/>
                        </a:lnTo>
                        <a:lnTo>
                          <a:pt x="228" y="120"/>
                        </a:lnTo>
                        <a:lnTo>
                          <a:pt x="228" y="120"/>
                        </a:lnTo>
                        <a:lnTo>
                          <a:pt x="230" y="123"/>
                        </a:lnTo>
                        <a:lnTo>
                          <a:pt x="225" y="125"/>
                        </a:lnTo>
                        <a:lnTo>
                          <a:pt x="216" y="146"/>
                        </a:lnTo>
                        <a:lnTo>
                          <a:pt x="211" y="153"/>
                        </a:lnTo>
                        <a:lnTo>
                          <a:pt x="194" y="170"/>
                        </a:lnTo>
                        <a:lnTo>
                          <a:pt x="190" y="168"/>
                        </a:lnTo>
                        <a:lnTo>
                          <a:pt x="185" y="168"/>
                        </a:lnTo>
                        <a:lnTo>
                          <a:pt x="175" y="168"/>
                        </a:lnTo>
                        <a:lnTo>
                          <a:pt x="157" y="182"/>
                        </a:lnTo>
                        <a:lnTo>
                          <a:pt x="154" y="189"/>
                        </a:lnTo>
                        <a:lnTo>
                          <a:pt x="149" y="196"/>
                        </a:lnTo>
                        <a:lnTo>
                          <a:pt x="145" y="201"/>
                        </a:lnTo>
                        <a:lnTo>
                          <a:pt x="119" y="215"/>
                        </a:lnTo>
                        <a:lnTo>
                          <a:pt x="114" y="217"/>
                        </a:lnTo>
                        <a:lnTo>
                          <a:pt x="107" y="217"/>
                        </a:lnTo>
                        <a:lnTo>
                          <a:pt x="88" y="213"/>
                        </a:lnTo>
                        <a:lnTo>
                          <a:pt x="52" y="213"/>
                        </a:lnTo>
                        <a:lnTo>
                          <a:pt x="41" y="208"/>
                        </a:lnTo>
                        <a:lnTo>
                          <a:pt x="24" y="189"/>
                        </a:lnTo>
                        <a:lnTo>
                          <a:pt x="24" y="184"/>
                        </a:lnTo>
                        <a:lnTo>
                          <a:pt x="24" y="179"/>
                        </a:lnTo>
                        <a:lnTo>
                          <a:pt x="24" y="175"/>
                        </a:lnTo>
                        <a:lnTo>
                          <a:pt x="24" y="170"/>
                        </a:lnTo>
                        <a:lnTo>
                          <a:pt x="22" y="168"/>
                        </a:lnTo>
                        <a:lnTo>
                          <a:pt x="19" y="168"/>
                        </a:lnTo>
                        <a:lnTo>
                          <a:pt x="17" y="168"/>
                        </a:lnTo>
                        <a:lnTo>
                          <a:pt x="15" y="163"/>
                        </a:lnTo>
                        <a:lnTo>
                          <a:pt x="12" y="163"/>
                        </a:lnTo>
                        <a:lnTo>
                          <a:pt x="10" y="168"/>
                        </a:lnTo>
                        <a:lnTo>
                          <a:pt x="7" y="177"/>
                        </a:lnTo>
                        <a:lnTo>
                          <a:pt x="7" y="184"/>
                        </a:lnTo>
                        <a:lnTo>
                          <a:pt x="12" y="187"/>
                        </a:lnTo>
                        <a:lnTo>
                          <a:pt x="17" y="189"/>
                        </a:lnTo>
                        <a:lnTo>
                          <a:pt x="19" y="194"/>
                        </a:lnTo>
                        <a:lnTo>
                          <a:pt x="19" y="203"/>
                        </a:lnTo>
                        <a:lnTo>
                          <a:pt x="19" y="208"/>
                        </a:lnTo>
                        <a:lnTo>
                          <a:pt x="0" y="269"/>
                        </a:lnTo>
                        <a:lnTo>
                          <a:pt x="5" y="269"/>
                        </a:lnTo>
                        <a:lnTo>
                          <a:pt x="7" y="272"/>
                        </a:lnTo>
                        <a:lnTo>
                          <a:pt x="12" y="279"/>
                        </a:lnTo>
                        <a:lnTo>
                          <a:pt x="15" y="281"/>
                        </a:lnTo>
                        <a:lnTo>
                          <a:pt x="17" y="281"/>
                        </a:lnTo>
                        <a:lnTo>
                          <a:pt x="19" y="281"/>
                        </a:lnTo>
                        <a:lnTo>
                          <a:pt x="22" y="284"/>
                        </a:lnTo>
                        <a:lnTo>
                          <a:pt x="22" y="286"/>
                        </a:lnTo>
                        <a:lnTo>
                          <a:pt x="19" y="288"/>
                        </a:lnTo>
                        <a:lnTo>
                          <a:pt x="19" y="288"/>
                        </a:lnTo>
                        <a:lnTo>
                          <a:pt x="19" y="298"/>
                        </a:lnTo>
                        <a:lnTo>
                          <a:pt x="17" y="305"/>
                        </a:lnTo>
                        <a:lnTo>
                          <a:pt x="12" y="310"/>
                        </a:lnTo>
                        <a:lnTo>
                          <a:pt x="5" y="312"/>
                        </a:lnTo>
                        <a:lnTo>
                          <a:pt x="7" y="317"/>
                        </a:lnTo>
                        <a:lnTo>
                          <a:pt x="10" y="326"/>
                        </a:lnTo>
                        <a:lnTo>
                          <a:pt x="12" y="333"/>
                        </a:lnTo>
                        <a:lnTo>
                          <a:pt x="15" y="338"/>
                        </a:lnTo>
                        <a:lnTo>
                          <a:pt x="17" y="328"/>
                        </a:lnTo>
                        <a:lnTo>
                          <a:pt x="19" y="319"/>
                        </a:lnTo>
                        <a:lnTo>
                          <a:pt x="24" y="314"/>
                        </a:lnTo>
                        <a:lnTo>
                          <a:pt x="31" y="317"/>
                        </a:lnTo>
                        <a:lnTo>
                          <a:pt x="29" y="321"/>
                        </a:lnTo>
                        <a:lnTo>
                          <a:pt x="26" y="331"/>
                        </a:lnTo>
                        <a:lnTo>
                          <a:pt x="34" y="333"/>
                        </a:lnTo>
                        <a:lnTo>
                          <a:pt x="48" y="321"/>
                        </a:lnTo>
                        <a:lnTo>
                          <a:pt x="55" y="321"/>
                        </a:lnTo>
                        <a:lnTo>
                          <a:pt x="64" y="328"/>
                        </a:lnTo>
                        <a:lnTo>
                          <a:pt x="67" y="336"/>
                        </a:lnTo>
                        <a:lnTo>
                          <a:pt x="69" y="347"/>
                        </a:lnTo>
                        <a:lnTo>
                          <a:pt x="71" y="354"/>
                        </a:lnTo>
                        <a:lnTo>
                          <a:pt x="78" y="359"/>
                        </a:lnTo>
                        <a:lnTo>
                          <a:pt x="83" y="362"/>
                        </a:lnTo>
                        <a:lnTo>
                          <a:pt x="90" y="371"/>
                        </a:lnTo>
                        <a:lnTo>
                          <a:pt x="95" y="383"/>
                        </a:lnTo>
                        <a:lnTo>
                          <a:pt x="95" y="390"/>
                        </a:lnTo>
                        <a:lnTo>
                          <a:pt x="95" y="411"/>
                        </a:lnTo>
                        <a:lnTo>
                          <a:pt x="95" y="421"/>
                        </a:lnTo>
                        <a:lnTo>
                          <a:pt x="104" y="425"/>
                        </a:lnTo>
                        <a:lnTo>
                          <a:pt x="107" y="423"/>
                        </a:lnTo>
                        <a:lnTo>
                          <a:pt x="114" y="428"/>
                        </a:lnTo>
                        <a:lnTo>
                          <a:pt x="123" y="435"/>
                        </a:lnTo>
                        <a:lnTo>
                          <a:pt x="128" y="442"/>
                        </a:lnTo>
                        <a:lnTo>
                          <a:pt x="128" y="456"/>
                        </a:lnTo>
                        <a:lnTo>
                          <a:pt x="126" y="475"/>
                        </a:lnTo>
                        <a:lnTo>
                          <a:pt x="128" y="499"/>
                        </a:lnTo>
                        <a:lnTo>
                          <a:pt x="131" y="506"/>
                        </a:lnTo>
                        <a:lnTo>
                          <a:pt x="138" y="515"/>
                        </a:lnTo>
                        <a:lnTo>
                          <a:pt x="140" y="522"/>
                        </a:lnTo>
                        <a:lnTo>
                          <a:pt x="140" y="530"/>
                        </a:lnTo>
                        <a:lnTo>
                          <a:pt x="138" y="534"/>
                        </a:lnTo>
                        <a:lnTo>
                          <a:pt x="135" y="541"/>
                        </a:lnTo>
                        <a:lnTo>
                          <a:pt x="133" y="544"/>
                        </a:lnTo>
                        <a:lnTo>
                          <a:pt x="131" y="544"/>
                        </a:lnTo>
                        <a:lnTo>
                          <a:pt x="123" y="546"/>
                        </a:lnTo>
                        <a:lnTo>
                          <a:pt x="114" y="548"/>
                        </a:lnTo>
                        <a:lnTo>
                          <a:pt x="114" y="548"/>
                        </a:lnTo>
                        <a:lnTo>
                          <a:pt x="107" y="553"/>
                        </a:lnTo>
                        <a:lnTo>
                          <a:pt x="107" y="556"/>
                        </a:lnTo>
                        <a:lnTo>
                          <a:pt x="107" y="558"/>
                        </a:lnTo>
                        <a:lnTo>
                          <a:pt x="112" y="553"/>
                        </a:lnTo>
                        <a:lnTo>
                          <a:pt x="116" y="560"/>
                        </a:lnTo>
                        <a:lnTo>
                          <a:pt x="116" y="565"/>
                        </a:lnTo>
                        <a:lnTo>
                          <a:pt x="114" y="575"/>
                        </a:lnTo>
                        <a:lnTo>
                          <a:pt x="114" y="579"/>
                        </a:lnTo>
                        <a:lnTo>
                          <a:pt x="119" y="596"/>
                        </a:lnTo>
                        <a:lnTo>
                          <a:pt x="116" y="598"/>
                        </a:lnTo>
                        <a:lnTo>
                          <a:pt x="116" y="601"/>
                        </a:lnTo>
                        <a:lnTo>
                          <a:pt x="116" y="603"/>
                        </a:lnTo>
                        <a:lnTo>
                          <a:pt x="116" y="608"/>
                        </a:lnTo>
                        <a:lnTo>
                          <a:pt x="119" y="610"/>
                        </a:lnTo>
                        <a:lnTo>
                          <a:pt x="119" y="610"/>
                        </a:lnTo>
                        <a:lnTo>
                          <a:pt x="119" y="610"/>
                        </a:lnTo>
                        <a:lnTo>
                          <a:pt x="126" y="615"/>
                        </a:lnTo>
                        <a:lnTo>
                          <a:pt x="131" y="617"/>
                        </a:lnTo>
                        <a:lnTo>
                          <a:pt x="133" y="619"/>
                        </a:lnTo>
                        <a:lnTo>
                          <a:pt x="131" y="624"/>
                        </a:lnTo>
                        <a:lnTo>
                          <a:pt x="133" y="629"/>
                        </a:lnTo>
                        <a:lnTo>
                          <a:pt x="133" y="617"/>
                        </a:lnTo>
                        <a:lnTo>
                          <a:pt x="135" y="612"/>
                        </a:lnTo>
                        <a:lnTo>
                          <a:pt x="140" y="610"/>
                        </a:lnTo>
                        <a:lnTo>
                          <a:pt x="138" y="610"/>
                        </a:lnTo>
                        <a:lnTo>
                          <a:pt x="135" y="610"/>
                        </a:lnTo>
                        <a:lnTo>
                          <a:pt x="133" y="610"/>
                        </a:lnTo>
                        <a:lnTo>
                          <a:pt x="133" y="612"/>
                        </a:lnTo>
                        <a:lnTo>
                          <a:pt x="131" y="610"/>
                        </a:lnTo>
                        <a:lnTo>
                          <a:pt x="138" y="603"/>
                        </a:lnTo>
                        <a:lnTo>
                          <a:pt x="149" y="603"/>
                        </a:lnTo>
                        <a:lnTo>
                          <a:pt x="159" y="608"/>
                        </a:lnTo>
                        <a:lnTo>
                          <a:pt x="166" y="615"/>
                        </a:lnTo>
                        <a:lnTo>
                          <a:pt x="171" y="622"/>
                        </a:lnTo>
                        <a:lnTo>
                          <a:pt x="171" y="627"/>
                        </a:lnTo>
                        <a:lnTo>
                          <a:pt x="171" y="641"/>
                        </a:lnTo>
                        <a:lnTo>
                          <a:pt x="171" y="645"/>
                        </a:lnTo>
                        <a:lnTo>
                          <a:pt x="168" y="655"/>
                        </a:lnTo>
                        <a:lnTo>
                          <a:pt x="166" y="662"/>
                        </a:lnTo>
                        <a:lnTo>
                          <a:pt x="164" y="667"/>
                        </a:lnTo>
                        <a:lnTo>
                          <a:pt x="164" y="664"/>
                        </a:lnTo>
                        <a:lnTo>
                          <a:pt x="166" y="662"/>
                        </a:lnTo>
                        <a:lnTo>
                          <a:pt x="168" y="660"/>
                        </a:lnTo>
                        <a:lnTo>
                          <a:pt x="168" y="657"/>
                        </a:lnTo>
                        <a:lnTo>
                          <a:pt x="171" y="657"/>
                        </a:lnTo>
                        <a:lnTo>
                          <a:pt x="168" y="662"/>
                        </a:lnTo>
                        <a:lnTo>
                          <a:pt x="164" y="669"/>
                        </a:lnTo>
                        <a:lnTo>
                          <a:pt x="159" y="676"/>
                        </a:lnTo>
                        <a:lnTo>
                          <a:pt x="159" y="683"/>
                        </a:lnTo>
                        <a:lnTo>
                          <a:pt x="164" y="686"/>
                        </a:lnTo>
                        <a:lnTo>
                          <a:pt x="180" y="690"/>
                        </a:lnTo>
                        <a:lnTo>
                          <a:pt x="171" y="693"/>
                        </a:lnTo>
                        <a:lnTo>
                          <a:pt x="164" y="690"/>
                        </a:lnTo>
                        <a:lnTo>
                          <a:pt x="159" y="686"/>
                        </a:lnTo>
                        <a:lnTo>
                          <a:pt x="147" y="672"/>
                        </a:lnTo>
                        <a:lnTo>
                          <a:pt x="145" y="669"/>
                        </a:lnTo>
                        <a:lnTo>
                          <a:pt x="140" y="669"/>
                        </a:lnTo>
                        <a:lnTo>
                          <a:pt x="138" y="672"/>
                        </a:lnTo>
                        <a:lnTo>
                          <a:pt x="140" y="681"/>
                        </a:lnTo>
                        <a:lnTo>
                          <a:pt x="140" y="686"/>
                        </a:lnTo>
                        <a:lnTo>
                          <a:pt x="140" y="688"/>
                        </a:lnTo>
                        <a:lnTo>
                          <a:pt x="142" y="693"/>
                        </a:lnTo>
                        <a:lnTo>
                          <a:pt x="145" y="712"/>
                        </a:lnTo>
                        <a:lnTo>
                          <a:pt x="149" y="728"/>
                        </a:lnTo>
                        <a:lnTo>
                          <a:pt x="152" y="738"/>
                        </a:lnTo>
                        <a:lnTo>
                          <a:pt x="149" y="742"/>
                        </a:lnTo>
                        <a:lnTo>
                          <a:pt x="152" y="747"/>
                        </a:lnTo>
                        <a:lnTo>
                          <a:pt x="149" y="754"/>
                        </a:lnTo>
                        <a:lnTo>
                          <a:pt x="145" y="769"/>
                        </a:lnTo>
                        <a:lnTo>
                          <a:pt x="142" y="776"/>
                        </a:lnTo>
                        <a:lnTo>
                          <a:pt x="133" y="790"/>
                        </a:lnTo>
                        <a:lnTo>
                          <a:pt x="131" y="795"/>
                        </a:lnTo>
                        <a:lnTo>
                          <a:pt x="131" y="797"/>
                        </a:lnTo>
                        <a:lnTo>
                          <a:pt x="133" y="797"/>
                        </a:lnTo>
                        <a:lnTo>
                          <a:pt x="138" y="809"/>
                        </a:lnTo>
                        <a:lnTo>
                          <a:pt x="140" y="811"/>
                        </a:lnTo>
                        <a:lnTo>
                          <a:pt x="138" y="818"/>
                        </a:lnTo>
                        <a:lnTo>
                          <a:pt x="138" y="821"/>
                        </a:lnTo>
                        <a:lnTo>
                          <a:pt x="133" y="830"/>
                        </a:lnTo>
                        <a:lnTo>
                          <a:pt x="131" y="832"/>
                        </a:lnTo>
                        <a:lnTo>
                          <a:pt x="135" y="842"/>
                        </a:lnTo>
                        <a:lnTo>
                          <a:pt x="147" y="849"/>
                        </a:lnTo>
                        <a:lnTo>
                          <a:pt x="147" y="856"/>
                        </a:lnTo>
                        <a:lnTo>
                          <a:pt x="154" y="863"/>
                        </a:lnTo>
                        <a:lnTo>
                          <a:pt x="152" y="873"/>
                        </a:lnTo>
                        <a:lnTo>
                          <a:pt x="138" y="894"/>
                        </a:lnTo>
                        <a:lnTo>
                          <a:pt x="135" y="896"/>
                        </a:lnTo>
                        <a:lnTo>
                          <a:pt x="138" y="899"/>
                        </a:lnTo>
                        <a:lnTo>
                          <a:pt x="140" y="906"/>
                        </a:lnTo>
                        <a:lnTo>
                          <a:pt x="142" y="906"/>
                        </a:lnTo>
                        <a:lnTo>
                          <a:pt x="145" y="906"/>
                        </a:lnTo>
                        <a:lnTo>
                          <a:pt x="147" y="908"/>
                        </a:lnTo>
                        <a:lnTo>
                          <a:pt x="147" y="913"/>
                        </a:lnTo>
                        <a:lnTo>
                          <a:pt x="147" y="915"/>
                        </a:lnTo>
                        <a:lnTo>
                          <a:pt x="149" y="918"/>
                        </a:lnTo>
                        <a:lnTo>
                          <a:pt x="152" y="920"/>
                        </a:lnTo>
                        <a:lnTo>
                          <a:pt x="154" y="922"/>
                        </a:lnTo>
                        <a:lnTo>
                          <a:pt x="152" y="918"/>
                        </a:lnTo>
                        <a:lnTo>
                          <a:pt x="154" y="918"/>
                        </a:lnTo>
                        <a:lnTo>
                          <a:pt x="157" y="918"/>
                        </a:lnTo>
                        <a:lnTo>
                          <a:pt x="159" y="922"/>
                        </a:lnTo>
                        <a:lnTo>
                          <a:pt x="161" y="927"/>
                        </a:lnTo>
                        <a:lnTo>
                          <a:pt x="161" y="937"/>
                        </a:lnTo>
                        <a:lnTo>
                          <a:pt x="164" y="941"/>
                        </a:lnTo>
                        <a:lnTo>
                          <a:pt x="168" y="939"/>
                        </a:lnTo>
                        <a:lnTo>
                          <a:pt x="171" y="939"/>
                        </a:lnTo>
                        <a:lnTo>
                          <a:pt x="173" y="944"/>
                        </a:lnTo>
                        <a:lnTo>
                          <a:pt x="175" y="951"/>
                        </a:lnTo>
                        <a:lnTo>
                          <a:pt x="178" y="953"/>
                        </a:lnTo>
                        <a:lnTo>
                          <a:pt x="178" y="955"/>
                        </a:lnTo>
                        <a:lnTo>
                          <a:pt x="185" y="951"/>
                        </a:lnTo>
                        <a:lnTo>
                          <a:pt x="190" y="953"/>
                        </a:lnTo>
                        <a:lnTo>
                          <a:pt x="187" y="960"/>
                        </a:lnTo>
                        <a:lnTo>
                          <a:pt x="187" y="963"/>
                        </a:lnTo>
                        <a:lnTo>
                          <a:pt x="192" y="963"/>
                        </a:lnTo>
                        <a:lnTo>
                          <a:pt x="199" y="965"/>
                        </a:lnTo>
                        <a:lnTo>
                          <a:pt x="201" y="963"/>
                        </a:lnTo>
                        <a:lnTo>
                          <a:pt x="204" y="963"/>
                        </a:lnTo>
                        <a:lnTo>
                          <a:pt x="211" y="981"/>
                        </a:lnTo>
                        <a:lnTo>
                          <a:pt x="216" y="1003"/>
                        </a:lnTo>
                        <a:lnTo>
                          <a:pt x="223" y="1000"/>
                        </a:lnTo>
                        <a:lnTo>
                          <a:pt x="228" y="1007"/>
                        </a:lnTo>
                        <a:lnTo>
                          <a:pt x="228" y="1017"/>
                        </a:lnTo>
                        <a:lnTo>
                          <a:pt x="223" y="1026"/>
                        </a:lnTo>
                        <a:lnTo>
                          <a:pt x="225" y="1029"/>
                        </a:lnTo>
                        <a:lnTo>
                          <a:pt x="230" y="1029"/>
                        </a:lnTo>
                        <a:lnTo>
                          <a:pt x="235" y="1029"/>
                        </a:lnTo>
                        <a:lnTo>
                          <a:pt x="239" y="1031"/>
                        </a:lnTo>
                        <a:lnTo>
                          <a:pt x="237" y="1038"/>
                        </a:lnTo>
                        <a:lnTo>
                          <a:pt x="239" y="1041"/>
                        </a:lnTo>
                        <a:lnTo>
                          <a:pt x="244" y="1038"/>
                        </a:lnTo>
                        <a:lnTo>
                          <a:pt x="242" y="1029"/>
                        </a:lnTo>
                        <a:lnTo>
                          <a:pt x="246" y="1022"/>
                        </a:lnTo>
                        <a:lnTo>
                          <a:pt x="254" y="1015"/>
                        </a:lnTo>
                        <a:lnTo>
                          <a:pt x="261" y="1010"/>
                        </a:lnTo>
                        <a:lnTo>
                          <a:pt x="268" y="1010"/>
                        </a:lnTo>
                        <a:lnTo>
                          <a:pt x="277" y="1012"/>
                        </a:lnTo>
                        <a:lnTo>
                          <a:pt x="287" y="1019"/>
                        </a:lnTo>
                        <a:lnTo>
                          <a:pt x="291" y="1026"/>
                        </a:lnTo>
                        <a:lnTo>
                          <a:pt x="291" y="1017"/>
                        </a:lnTo>
                        <a:lnTo>
                          <a:pt x="298" y="1024"/>
                        </a:lnTo>
                        <a:lnTo>
                          <a:pt x="303" y="1026"/>
                        </a:lnTo>
                        <a:lnTo>
                          <a:pt x="308" y="1029"/>
                        </a:lnTo>
                        <a:lnTo>
                          <a:pt x="310" y="1026"/>
                        </a:lnTo>
                        <a:lnTo>
                          <a:pt x="313" y="1019"/>
                        </a:lnTo>
                        <a:lnTo>
                          <a:pt x="315" y="1019"/>
                        </a:lnTo>
                        <a:lnTo>
                          <a:pt x="320" y="1017"/>
                        </a:lnTo>
                        <a:lnTo>
                          <a:pt x="320" y="1017"/>
                        </a:lnTo>
                        <a:lnTo>
                          <a:pt x="351" y="979"/>
                        </a:lnTo>
                        <a:lnTo>
                          <a:pt x="353" y="972"/>
                        </a:lnTo>
                        <a:lnTo>
                          <a:pt x="355" y="974"/>
                        </a:lnTo>
                        <a:lnTo>
                          <a:pt x="358" y="974"/>
                        </a:lnTo>
                        <a:lnTo>
                          <a:pt x="360" y="972"/>
                        </a:lnTo>
                        <a:lnTo>
                          <a:pt x="358" y="972"/>
                        </a:lnTo>
                        <a:lnTo>
                          <a:pt x="360" y="958"/>
                        </a:lnTo>
                        <a:lnTo>
                          <a:pt x="365" y="948"/>
                        </a:lnTo>
                        <a:lnTo>
                          <a:pt x="362" y="946"/>
                        </a:lnTo>
                        <a:lnTo>
                          <a:pt x="360" y="944"/>
                        </a:lnTo>
                        <a:lnTo>
                          <a:pt x="360" y="941"/>
                        </a:lnTo>
                        <a:lnTo>
                          <a:pt x="355" y="934"/>
                        </a:lnTo>
                        <a:lnTo>
                          <a:pt x="353" y="927"/>
                        </a:lnTo>
                        <a:lnTo>
                          <a:pt x="351" y="918"/>
                        </a:lnTo>
                        <a:lnTo>
                          <a:pt x="351" y="908"/>
                        </a:lnTo>
                        <a:lnTo>
                          <a:pt x="353" y="901"/>
                        </a:lnTo>
                        <a:lnTo>
                          <a:pt x="355" y="894"/>
                        </a:lnTo>
                        <a:lnTo>
                          <a:pt x="367" y="880"/>
                        </a:lnTo>
                        <a:lnTo>
                          <a:pt x="369" y="877"/>
                        </a:lnTo>
                        <a:lnTo>
                          <a:pt x="367" y="873"/>
                        </a:lnTo>
                        <a:lnTo>
                          <a:pt x="367" y="870"/>
                        </a:lnTo>
                        <a:lnTo>
                          <a:pt x="358" y="875"/>
                        </a:lnTo>
                        <a:lnTo>
                          <a:pt x="355" y="873"/>
                        </a:lnTo>
                        <a:lnTo>
                          <a:pt x="355" y="875"/>
                        </a:lnTo>
                        <a:lnTo>
                          <a:pt x="353" y="873"/>
                        </a:lnTo>
                        <a:lnTo>
                          <a:pt x="351" y="870"/>
                        </a:lnTo>
                        <a:lnTo>
                          <a:pt x="348" y="868"/>
                        </a:lnTo>
                        <a:lnTo>
                          <a:pt x="348" y="866"/>
                        </a:lnTo>
                        <a:lnTo>
                          <a:pt x="348" y="863"/>
                        </a:lnTo>
                        <a:lnTo>
                          <a:pt x="343" y="861"/>
                        </a:lnTo>
                        <a:lnTo>
                          <a:pt x="346" y="858"/>
                        </a:lnTo>
                        <a:lnTo>
                          <a:pt x="348" y="858"/>
                        </a:lnTo>
                        <a:lnTo>
                          <a:pt x="353" y="858"/>
                        </a:lnTo>
                        <a:lnTo>
                          <a:pt x="355" y="861"/>
                        </a:lnTo>
                        <a:lnTo>
                          <a:pt x="360" y="866"/>
                        </a:lnTo>
                        <a:lnTo>
                          <a:pt x="362" y="866"/>
                        </a:lnTo>
                        <a:lnTo>
                          <a:pt x="365" y="863"/>
                        </a:lnTo>
                        <a:lnTo>
                          <a:pt x="379" y="877"/>
                        </a:lnTo>
                        <a:lnTo>
                          <a:pt x="388" y="884"/>
                        </a:lnTo>
                        <a:lnTo>
                          <a:pt x="398" y="887"/>
                        </a:lnTo>
                        <a:lnTo>
                          <a:pt x="398" y="884"/>
                        </a:lnTo>
                        <a:lnTo>
                          <a:pt x="403" y="877"/>
                        </a:lnTo>
                        <a:lnTo>
                          <a:pt x="407" y="870"/>
                        </a:lnTo>
                        <a:lnTo>
                          <a:pt x="412" y="868"/>
                        </a:lnTo>
                        <a:lnTo>
                          <a:pt x="424" y="868"/>
                        </a:lnTo>
                        <a:lnTo>
                          <a:pt x="431" y="868"/>
                        </a:lnTo>
                        <a:lnTo>
                          <a:pt x="436" y="870"/>
                        </a:lnTo>
                        <a:lnTo>
                          <a:pt x="438" y="868"/>
                        </a:lnTo>
                        <a:lnTo>
                          <a:pt x="440" y="870"/>
                        </a:lnTo>
                        <a:lnTo>
                          <a:pt x="445" y="873"/>
                        </a:lnTo>
                        <a:lnTo>
                          <a:pt x="450" y="873"/>
                        </a:lnTo>
                        <a:lnTo>
                          <a:pt x="452" y="875"/>
                        </a:lnTo>
                        <a:lnTo>
                          <a:pt x="457" y="875"/>
                        </a:lnTo>
                        <a:lnTo>
                          <a:pt x="464" y="882"/>
                        </a:lnTo>
                        <a:lnTo>
                          <a:pt x="466" y="884"/>
                        </a:lnTo>
                        <a:lnTo>
                          <a:pt x="469" y="884"/>
                        </a:lnTo>
                        <a:lnTo>
                          <a:pt x="478" y="894"/>
                        </a:lnTo>
                        <a:lnTo>
                          <a:pt x="485" y="896"/>
                        </a:lnTo>
                        <a:lnTo>
                          <a:pt x="490" y="899"/>
                        </a:lnTo>
                        <a:lnTo>
                          <a:pt x="490" y="901"/>
                        </a:lnTo>
                        <a:lnTo>
                          <a:pt x="492" y="901"/>
                        </a:lnTo>
                        <a:lnTo>
                          <a:pt x="497" y="899"/>
                        </a:lnTo>
                        <a:lnTo>
                          <a:pt x="502" y="896"/>
                        </a:lnTo>
                        <a:lnTo>
                          <a:pt x="509" y="896"/>
                        </a:lnTo>
                        <a:lnTo>
                          <a:pt x="514" y="899"/>
                        </a:lnTo>
                        <a:lnTo>
                          <a:pt x="511" y="903"/>
                        </a:lnTo>
                        <a:lnTo>
                          <a:pt x="511" y="906"/>
                        </a:lnTo>
                        <a:lnTo>
                          <a:pt x="514" y="906"/>
                        </a:lnTo>
                        <a:lnTo>
                          <a:pt x="516" y="908"/>
                        </a:lnTo>
                        <a:lnTo>
                          <a:pt x="516" y="899"/>
                        </a:lnTo>
                        <a:lnTo>
                          <a:pt x="523" y="894"/>
                        </a:lnTo>
                        <a:lnTo>
                          <a:pt x="528" y="892"/>
                        </a:lnTo>
                        <a:lnTo>
                          <a:pt x="530" y="887"/>
                        </a:lnTo>
                        <a:lnTo>
                          <a:pt x="530" y="882"/>
                        </a:lnTo>
                        <a:lnTo>
                          <a:pt x="533" y="873"/>
                        </a:lnTo>
                        <a:lnTo>
                          <a:pt x="533" y="870"/>
                        </a:lnTo>
                        <a:lnTo>
                          <a:pt x="530" y="868"/>
                        </a:lnTo>
                        <a:lnTo>
                          <a:pt x="528" y="866"/>
                        </a:lnTo>
                        <a:lnTo>
                          <a:pt x="528" y="863"/>
                        </a:lnTo>
                        <a:lnTo>
                          <a:pt x="530" y="858"/>
                        </a:lnTo>
                        <a:lnTo>
                          <a:pt x="526" y="849"/>
                        </a:lnTo>
                        <a:lnTo>
                          <a:pt x="530" y="837"/>
                        </a:lnTo>
                        <a:lnTo>
                          <a:pt x="537" y="825"/>
                        </a:lnTo>
                        <a:lnTo>
                          <a:pt x="547" y="821"/>
                        </a:lnTo>
                        <a:lnTo>
                          <a:pt x="545" y="818"/>
                        </a:lnTo>
                        <a:lnTo>
                          <a:pt x="537" y="813"/>
                        </a:lnTo>
                        <a:lnTo>
                          <a:pt x="535" y="811"/>
                        </a:lnTo>
                        <a:lnTo>
                          <a:pt x="533" y="804"/>
                        </a:lnTo>
                        <a:lnTo>
                          <a:pt x="533" y="799"/>
                        </a:lnTo>
                        <a:lnTo>
                          <a:pt x="535" y="780"/>
                        </a:lnTo>
                        <a:lnTo>
                          <a:pt x="540" y="757"/>
                        </a:lnTo>
                        <a:lnTo>
                          <a:pt x="540" y="742"/>
                        </a:lnTo>
                        <a:lnTo>
                          <a:pt x="535" y="735"/>
                        </a:lnTo>
                        <a:lnTo>
                          <a:pt x="540" y="707"/>
                        </a:lnTo>
                        <a:lnTo>
                          <a:pt x="540" y="695"/>
                        </a:lnTo>
                        <a:lnTo>
                          <a:pt x="535" y="676"/>
                        </a:lnTo>
                        <a:lnTo>
                          <a:pt x="535" y="672"/>
                        </a:lnTo>
                        <a:lnTo>
                          <a:pt x="535" y="667"/>
                        </a:lnTo>
                        <a:lnTo>
                          <a:pt x="537" y="662"/>
                        </a:lnTo>
                        <a:lnTo>
                          <a:pt x="537" y="660"/>
                        </a:lnTo>
                        <a:lnTo>
                          <a:pt x="537" y="655"/>
                        </a:lnTo>
                        <a:lnTo>
                          <a:pt x="540" y="645"/>
                        </a:lnTo>
                        <a:lnTo>
                          <a:pt x="540" y="643"/>
                        </a:lnTo>
                        <a:lnTo>
                          <a:pt x="540" y="636"/>
                        </a:lnTo>
                        <a:lnTo>
                          <a:pt x="537" y="627"/>
                        </a:lnTo>
                        <a:lnTo>
                          <a:pt x="535" y="622"/>
                        </a:lnTo>
                        <a:lnTo>
                          <a:pt x="535" y="610"/>
                        </a:lnTo>
                        <a:lnTo>
                          <a:pt x="535" y="601"/>
                        </a:lnTo>
                        <a:lnTo>
                          <a:pt x="537" y="591"/>
                        </a:lnTo>
                        <a:lnTo>
                          <a:pt x="540" y="584"/>
                        </a:lnTo>
                        <a:lnTo>
                          <a:pt x="540" y="582"/>
                        </a:lnTo>
                        <a:lnTo>
                          <a:pt x="540" y="582"/>
                        </a:lnTo>
                        <a:lnTo>
                          <a:pt x="537" y="579"/>
                        </a:lnTo>
                        <a:lnTo>
                          <a:pt x="535" y="579"/>
                        </a:lnTo>
                        <a:lnTo>
                          <a:pt x="535" y="577"/>
                        </a:lnTo>
                        <a:lnTo>
                          <a:pt x="537" y="577"/>
                        </a:lnTo>
                        <a:lnTo>
                          <a:pt x="535" y="572"/>
                        </a:lnTo>
                        <a:lnTo>
                          <a:pt x="535" y="567"/>
                        </a:lnTo>
                        <a:lnTo>
                          <a:pt x="535" y="563"/>
                        </a:lnTo>
                        <a:lnTo>
                          <a:pt x="537" y="556"/>
                        </a:lnTo>
                        <a:lnTo>
                          <a:pt x="540" y="556"/>
                        </a:lnTo>
                        <a:lnTo>
                          <a:pt x="542" y="556"/>
                        </a:lnTo>
                        <a:lnTo>
                          <a:pt x="542" y="553"/>
                        </a:lnTo>
                        <a:lnTo>
                          <a:pt x="545" y="548"/>
                        </a:lnTo>
                        <a:lnTo>
                          <a:pt x="542" y="546"/>
                        </a:lnTo>
                        <a:lnTo>
                          <a:pt x="540" y="546"/>
                        </a:lnTo>
                        <a:lnTo>
                          <a:pt x="537" y="548"/>
                        </a:lnTo>
                        <a:lnTo>
                          <a:pt x="537" y="551"/>
                        </a:lnTo>
                        <a:lnTo>
                          <a:pt x="533" y="539"/>
                        </a:lnTo>
                        <a:lnTo>
                          <a:pt x="533" y="525"/>
                        </a:lnTo>
                        <a:lnTo>
                          <a:pt x="542" y="492"/>
                        </a:lnTo>
                        <a:lnTo>
                          <a:pt x="542" y="485"/>
                        </a:lnTo>
                        <a:lnTo>
                          <a:pt x="533" y="480"/>
                        </a:lnTo>
                        <a:lnTo>
                          <a:pt x="526" y="470"/>
                        </a:lnTo>
                        <a:lnTo>
                          <a:pt x="523" y="470"/>
                        </a:lnTo>
                        <a:lnTo>
                          <a:pt x="519" y="468"/>
                        </a:lnTo>
                        <a:lnTo>
                          <a:pt x="514" y="463"/>
                        </a:lnTo>
                        <a:lnTo>
                          <a:pt x="504" y="442"/>
                        </a:lnTo>
                        <a:lnTo>
                          <a:pt x="502" y="437"/>
                        </a:lnTo>
                        <a:lnTo>
                          <a:pt x="500" y="421"/>
                        </a:lnTo>
                        <a:lnTo>
                          <a:pt x="500" y="414"/>
                        </a:lnTo>
                        <a:lnTo>
                          <a:pt x="502" y="404"/>
                        </a:lnTo>
                        <a:lnTo>
                          <a:pt x="504" y="399"/>
                        </a:lnTo>
                        <a:lnTo>
                          <a:pt x="511" y="390"/>
                        </a:lnTo>
                        <a:lnTo>
                          <a:pt x="514" y="385"/>
                        </a:lnTo>
                        <a:lnTo>
                          <a:pt x="519" y="373"/>
                        </a:lnTo>
                        <a:lnTo>
                          <a:pt x="521" y="366"/>
                        </a:lnTo>
                        <a:lnTo>
                          <a:pt x="526" y="364"/>
                        </a:lnTo>
                        <a:lnTo>
                          <a:pt x="533" y="362"/>
                        </a:lnTo>
                        <a:lnTo>
                          <a:pt x="537" y="354"/>
                        </a:lnTo>
                        <a:lnTo>
                          <a:pt x="540" y="338"/>
                        </a:lnTo>
                        <a:lnTo>
                          <a:pt x="547" y="326"/>
                        </a:lnTo>
                        <a:lnTo>
                          <a:pt x="547" y="319"/>
                        </a:lnTo>
                        <a:lnTo>
                          <a:pt x="547" y="310"/>
                        </a:lnTo>
                        <a:lnTo>
                          <a:pt x="549" y="305"/>
                        </a:lnTo>
                        <a:lnTo>
                          <a:pt x="552" y="298"/>
                        </a:lnTo>
                        <a:lnTo>
                          <a:pt x="552" y="293"/>
                        </a:lnTo>
                        <a:lnTo>
                          <a:pt x="549" y="291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28" name="Freeform 19">
                    <a:extLst>
                      <a:ext uri="{FF2B5EF4-FFF2-40B4-BE49-F238E27FC236}">
                        <a16:creationId xmlns:a16="http://schemas.microsoft.com/office/drawing/2014/main" id="{8C463962-BA4D-4520-9D6C-31C65B48DCA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4737769" y="2728688"/>
                    <a:ext cx="1068636" cy="1142161"/>
                  </a:xfrm>
                  <a:custGeom>
                    <a:avLst/>
                    <a:gdLst>
                      <a:gd name="T0" fmla="*/ 208 w 842"/>
                      <a:gd name="T1" fmla="*/ 785 h 899"/>
                      <a:gd name="T2" fmla="*/ 650 w 842"/>
                      <a:gd name="T3" fmla="*/ 809 h 899"/>
                      <a:gd name="T4" fmla="*/ 688 w 842"/>
                      <a:gd name="T5" fmla="*/ 773 h 899"/>
                      <a:gd name="T6" fmla="*/ 676 w 842"/>
                      <a:gd name="T7" fmla="*/ 745 h 899"/>
                      <a:gd name="T8" fmla="*/ 707 w 842"/>
                      <a:gd name="T9" fmla="*/ 724 h 899"/>
                      <a:gd name="T10" fmla="*/ 726 w 842"/>
                      <a:gd name="T11" fmla="*/ 700 h 899"/>
                      <a:gd name="T12" fmla="*/ 733 w 842"/>
                      <a:gd name="T13" fmla="*/ 660 h 899"/>
                      <a:gd name="T14" fmla="*/ 717 w 842"/>
                      <a:gd name="T15" fmla="*/ 627 h 899"/>
                      <a:gd name="T16" fmla="*/ 769 w 842"/>
                      <a:gd name="T17" fmla="*/ 591 h 899"/>
                      <a:gd name="T18" fmla="*/ 764 w 842"/>
                      <a:gd name="T19" fmla="*/ 541 h 899"/>
                      <a:gd name="T20" fmla="*/ 757 w 842"/>
                      <a:gd name="T21" fmla="*/ 513 h 899"/>
                      <a:gd name="T22" fmla="*/ 745 w 842"/>
                      <a:gd name="T23" fmla="*/ 492 h 899"/>
                      <a:gd name="T24" fmla="*/ 771 w 842"/>
                      <a:gd name="T25" fmla="*/ 435 h 899"/>
                      <a:gd name="T26" fmla="*/ 799 w 842"/>
                      <a:gd name="T27" fmla="*/ 425 h 899"/>
                      <a:gd name="T28" fmla="*/ 816 w 842"/>
                      <a:gd name="T29" fmla="*/ 397 h 899"/>
                      <a:gd name="T30" fmla="*/ 799 w 842"/>
                      <a:gd name="T31" fmla="*/ 399 h 899"/>
                      <a:gd name="T32" fmla="*/ 776 w 842"/>
                      <a:gd name="T33" fmla="*/ 364 h 899"/>
                      <a:gd name="T34" fmla="*/ 781 w 842"/>
                      <a:gd name="T35" fmla="*/ 338 h 899"/>
                      <a:gd name="T36" fmla="*/ 776 w 842"/>
                      <a:gd name="T37" fmla="*/ 319 h 899"/>
                      <a:gd name="T38" fmla="*/ 802 w 842"/>
                      <a:gd name="T39" fmla="*/ 253 h 899"/>
                      <a:gd name="T40" fmla="*/ 825 w 842"/>
                      <a:gd name="T41" fmla="*/ 217 h 899"/>
                      <a:gd name="T42" fmla="*/ 818 w 842"/>
                      <a:gd name="T43" fmla="*/ 203 h 899"/>
                      <a:gd name="T44" fmla="*/ 795 w 842"/>
                      <a:gd name="T45" fmla="*/ 210 h 899"/>
                      <a:gd name="T46" fmla="*/ 766 w 842"/>
                      <a:gd name="T47" fmla="*/ 212 h 899"/>
                      <a:gd name="T48" fmla="*/ 669 w 842"/>
                      <a:gd name="T49" fmla="*/ 198 h 899"/>
                      <a:gd name="T50" fmla="*/ 624 w 842"/>
                      <a:gd name="T51" fmla="*/ 156 h 899"/>
                      <a:gd name="T52" fmla="*/ 617 w 842"/>
                      <a:gd name="T53" fmla="*/ 123 h 899"/>
                      <a:gd name="T54" fmla="*/ 634 w 842"/>
                      <a:gd name="T55" fmla="*/ 75 h 899"/>
                      <a:gd name="T56" fmla="*/ 584 w 842"/>
                      <a:gd name="T57" fmla="*/ 80 h 899"/>
                      <a:gd name="T58" fmla="*/ 575 w 842"/>
                      <a:gd name="T59" fmla="*/ 66 h 899"/>
                      <a:gd name="T60" fmla="*/ 525 w 842"/>
                      <a:gd name="T61" fmla="*/ 44 h 899"/>
                      <a:gd name="T62" fmla="*/ 501 w 842"/>
                      <a:gd name="T63" fmla="*/ 61 h 899"/>
                      <a:gd name="T64" fmla="*/ 471 w 842"/>
                      <a:gd name="T65" fmla="*/ 94 h 899"/>
                      <a:gd name="T66" fmla="*/ 411 w 842"/>
                      <a:gd name="T67" fmla="*/ 115 h 899"/>
                      <a:gd name="T68" fmla="*/ 404 w 842"/>
                      <a:gd name="T69" fmla="*/ 104 h 899"/>
                      <a:gd name="T70" fmla="*/ 374 w 842"/>
                      <a:gd name="T71" fmla="*/ 130 h 899"/>
                      <a:gd name="T72" fmla="*/ 296 w 842"/>
                      <a:gd name="T73" fmla="*/ 111 h 899"/>
                      <a:gd name="T74" fmla="*/ 248 w 842"/>
                      <a:gd name="T75" fmla="*/ 99 h 899"/>
                      <a:gd name="T76" fmla="*/ 175 w 842"/>
                      <a:gd name="T77" fmla="*/ 75 h 899"/>
                      <a:gd name="T78" fmla="*/ 111 w 842"/>
                      <a:gd name="T79" fmla="*/ 42 h 899"/>
                      <a:gd name="T80" fmla="*/ 68 w 842"/>
                      <a:gd name="T81" fmla="*/ 4 h 899"/>
                      <a:gd name="T82" fmla="*/ 19 w 842"/>
                      <a:gd name="T83" fmla="*/ 42 h 899"/>
                      <a:gd name="T84" fmla="*/ 23 w 842"/>
                      <a:gd name="T85" fmla="*/ 80 h 899"/>
                      <a:gd name="T86" fmla="*/ 61 w 842"/>
                      <a:gd name="T87" fmla="*/ 123 h 899"/>
                      <a:gd name="T88" fmla="*/ 73 w 842"/>
                      <a:gd name="T89" fmla="*/ 130 h 899"/>
                      <a:gd name="T90" fmla="*/ 99 w 842"/>
                      <a:gd name="T91" fmla="*/ 137 h 899"/>
                      <a:gd name="T92" fmla="*/ 123 w 842"/>
                      <a:gd name="T93" fmla="*/ 156 h 899"/>
                      <a:gd name="T94" fmla="*/ 139 w 842"/>
                      <a:gd name="T95" fmla="*/ 186 h 899"/>
                      <a:gd name="T96" fmla="*/ 310 w 842"/>
                      <a:gd name="T97" fmla="*/ 492 h 899"/>
                      <a:gd name="T98" fmla="*/ 322 w 842"/>
                      <a:gd name="T99" fmla="*/ 629 h 899"/>
                      <a:gd name="T100" fmla="*/ 407 w 842"/>
                      <a:gd name="T101" fmla="*/ 643 h 899"/>
                      <a:gd name="T102" fmla="*/ 492 w 842"/>
                      <a:gd name="T103" fmla="*/ 724 h 899"/>
                      <a:gd name="T104" fmla="*/ 558 w 842"/>
                      <a:gd name="T105" fmla="*/ 785 h 899"/>
                      <a:gd name="T106" fmla="*/ 556 w 842"/>
                      <a:gd name="T107" fmla="*/ 844 h 899"/>
                      <a:gd name="T108" fmla="*/ 615 w 842"/>
                      <a:gd name="T109" fmla="*/ 821 h 899"/>
                      <a:gd name="T110" fmla="*/ 310 w 842"/>
                      <a:gd name="T111" fmla="*/ 690 h 899"/>
                      <a:gd name="T112" fmla="*/ 296 w 842"/>
                      <a:gd name="T113" fmla="*/ 724 h 899"/>
                      <a:gd name="T114" fmla="*/ 222 w 842"/>
                      <a:gd name="T115" fmla="*/ 731 h 899"/>
                      <a:gd name="T116" fmla="*/ 255 w 842"/>
                      <a:gd name="T117" fmla="*/ 695 h 899"/>
                      <a:gd name="T118" fmla="*/ 284 w 842"/>
                      <a:gd name="T119" fmla="*/ 688 h 899"/>
                      <a:gd name="T120" fmla="*/ 482 w 842"/>
                      <a:gd name="T121" fmla="*/ 861 h 899"/>
                      <a:gd name="T122" fmla="*/ 482 w 842"/>
                      <a:gd name="T123" fmla="*/ 861 h 899"/>
                      <a:gd name="T124" fmla="*/ 113 w 842"/>
                      <a:gd name="T125" fmla="*/ 605 h 8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842" h="899">
                        <a:moveTo>
                          <a:pt x="215" y="794"/>
                        </a:moveTo>
                        <a:lnTo>
                          <a:pt x="215" y="794"/>
                        </a:lnTo>
                        <a:lnTo>
                          <a:pt x="215" y="794"/>
                        </a:lnTo>
                        <a:lnTo>
                          <a:pt x="215" y="797"/>
                        </a:lnTo>
                        <a:lnTo>
                          <a:pt x="215" y="799"/>
                        </a:lnTo>
                        <a:lnTo>
                          <a:pt x="213" y="802"/>
                        </a:lnTo>
                        <a:lnTo>
                          <a:pt x="208" y="802"/>
                        </a:lnTo>
                        <a:lnTo>
                          <a:pt x="203" y="802"/>
                        </a:lnTo>
                        <a:lnTo>
                          <a:pt x="201" y="799"/>
                        </a:lnTo>
                        <a:lnTo>
                          <a:pt x="201" y="797"/>
                        </a:lnTo>
                        <a:lnTo>
                          <a:pt x="203" y="794"/>
                        </a:lnTo>
                        <a:lnTo>
                          <a:pt x="206" y="790"/>
                        </a:lnTo>
                        <a:lnTo>
                          <a:pt x="208" y="785"/>
                        </a:lnTo>
                        <a:lnTo>
                          <a:pt x="210" y="785"/>
                        </a:lnTo>
                        <a:lnTo>
                          <a:pt x="210" y="790"/>
                        </a:lnTo>
                        <a:lnTo>
                          <a:pt x="213" y="792"/>
                        </a:lnTo>
                        <a:lnTo>
                          <a:pt x="215" y="794"/>
                        </a:lnTo>
                        <a:close/>
                        <a:moveTo>
                          <a:pt x="291" y="887"/>
                        </a:moveTo>
                        <a:lnTo>
                          <a:pt x="291" y="887"/>
                        </a:lnTo>
                        <a:lnTo>
                          <a:pt x="296" y="891"/>
                        </a:lnTo>
                        <a:lnTo>
                          <a:pt x="296" y="899"/>
                        </a:lnTo>
                        <a:lnTo>
                          <a:pt x="288" y="896"/>
                        </a:lnTo>
                        <a:lnTo>
                          <a:pt x="288" y="889"/>
                        </a:lnTo>
                        <a:lnTo>
                          <a:pt x="291" y="887"/>
                        </a:lnTo>
                        <a:close/>
                        <a:moveTo>
                          <a:pt x="650" y="809"/>
                        </a:moveTo>
                        <a:lnTo>
                          <a:pt x="650" y="809"/>
                        </a:lnTo>
                        <a:lnTo>
                          <a:pt x="650" y="806"/>
                        </a:lnTo>
                        <a:lnTo>
                          <a:pt x="653" y="804"/>
                        </a:lnTo>
                        <a:lnTo>
                          <a:pt x="655" y="802"/>
                        </a:lnTo>
                        <a:lnTo>
                          <a:pt x="658" y="802"/>
                        </a:lnTo>
                        <a:lnTo>
                          <a:pt x="684" y="794"/>
                        </a:lnTo>
                        <a:lnTo>
                          <a:pt x="686" y="794"/>
                        </a:lnTo>
                        <a:lnTo>
                          <a:pt x="686" y="792"/>
                        </a:lnTo>
                        <a:lnTo>
                          <a:pt x="688" y="792"/>
                        </a:lnTo>
                        <a:lnTo>
                          <a:pt x="688" y="790"/>
                        </a:lnTo>
                        <a:lnTo>
                          <a:pt x="688" y="785"/>
                        </a:lnTo>
                        <a:lnTo>
                          <a:pt x="688" y="780"/>
                        </a:lnTo>
                        <a:lnTo>
                          <a:pt x="688" y="776"/>
                        </a:lnTo>
                        <a:lnTo>
                          <a:pt x="688" y="773"/>
                        </a:lnTo>
                        <a:lnTo>
                          <a:pt x="686" y="773"/>
                        </a:lnTo>
                        <a:lnTo>
                          <a:pt x="684" y="771"/>
                        </a:lnTo>
                        <a:lnTo>
                          <a:pt x="674" y="766"/>
                        </a:lnTo>
                        <a:lnTo>
                          <a:pt x="674" y="766"/>
                        </a:lnTo>
                        <a:lnTo>
                          <a:pt x="674" y="764"/>
                        </a:lnTo>
                        <a:lnTo>
                          <a:pt x="674" y="761"/>
                        </a:lnTo>
                        <a:lnTo>
                          <a:pt x="674" y="759"/>
                        </a:lnTo>
                        <a:lnTo>
                          <a:pt x="679" y="754"/>
                        </a:lnTo>
                        <a:lnTo>
                          <a:pt x="679" y="752"/>
                        </a:lnTo>
                        <a:lnTo>
                          <a:pt x="679" y="750"/>
                        </a:lnTo>
                        <a:lnTo>
                          <a:pt x="676" y="747"/>
                        </a:lnTo>
                        <a:lnTo>
                          <a:pt x="676" y="747"/>
                        </a:lnTo>
                        <a:lnTo>
                          <a:pt x="676" y="745"/>
                        </a:lnTo>
                        <a:lnTo>
                          <a:pt x="676" y="742"/>
                        </a:lnTo>
                        <a:lnTo>
                          <a:pt x="676" y="742"/>
                        </a:lnTo>
                        <a:lnTo>
                          <a:pt x="679" y="740"/>
                        </a:lnTo>
                        <a:lnTo>
                          <a:pt x="681" y="740"/>
                        </a:lnTo>
                        <a:lnTo>
                          <a:pt x="681" y="740"/>
                        </a:lnTo>
                        <a:lnTo>
                          <a:pt x="686" y="742"/>
                        </a:lnTo>
                        <a:lnTo>
                          <a:pt x="686" y="742"/>
                        </a:lnTo>
                        <a:lnTo>
                          <a:pt x="688" y="742"/>
                        </a:lnTo>
                        <a:lnTo>
                          <a:pt x="702" y="733"/>
                        </a:lnTo>
                        <a:lnTo>
                          <a:pt x="702" y="733"/>
                        </a:lnTo>
                        <a:lnTo>
                          <a:pt x="705" y="731"/>
                        </a:lnTo>
                        <a:lnTo>
                          <a:pt x="705" y="731"/>
                        </a:lnTo>
                        <a:lnTo>
                          <a:pt x="707" y="724"/>
                        </a:lnTo>
                        <a:lnTo>
                          <a:pt x="710" y="721"/>
                        </a:lnTo>
                        <a:lnTo>
                          <a:pt x="710" y="721"/>
                        </a:lnTo>
                        <a:lnTo>
                          <a:pt x="714" y="719"/>
                        </a:lnTo>
                        <a:lnTo>
                          <a:pt x="717" y="716"/>
                        </a:lnTo>
                        <a:lnTo>
                          <a:pt x="719" y="714"/>
                        </a:lnTo>
                        <a:lnTo>
                          <a:pt x="719" y="712"/>
                        </a:lnTo>
                        <a:lnTo>
                          <a:pt x="721" y="712"/>
                        </a:lnTo>
                        <a:lnTo>
                          <a:pt x="721" y="705"/>
                        </a:lnTo>
                        <a:lnTo>
                          <a:pt x="724" y="702"/>
                        </a:lnTo>
                        <a:lnTo>
                          <a:pt x="724" y="702"/>
                        </a:lnTo>
                        <a:lnTo>
                          <a:pt x="724" y="702"/>
                        </a:lnTo>
                        <a:lnTo>
                          <a:pt x="724" y="700"/>
                        </a:lnTo>
                        <a:lnTo>
                          <a:pt x="726" y="700"/>
                        </a:lnTo>
                        <a:lnTo>
                          <a:pt x="731" y="697"/>
                        </a:lnTo>
                        <a:lnTo>
                          <a:pt x="731" y="697"/>
                        </a:lnTo>
                        <a:lnTo>
                          <a:pt x="733" y="697"/>
                        </a:lnTo>
                        <a:lnTo>
                          <a:pt x="733" y="693"/>
                        </a:lnTo>
                        <a:lnTo>
                          <a:pt x="733" y="688"/>
                        </a:lnTo>
                        <a:lnTo>
                          <a:pt x="731" y="676"/>
                        </a:lnTo>
                        <a:lnTo>
                          <a:pt x="731" y="671"/>
                        </a:lnTo>
                        <a:lnTo>
                          <a:pt x="731" y="669"/>
                        </a:lnTo>
                        <a:lnTo>
                          <a:pt x="731" y="667"/>
                        </a:lnTo>
                        <a:lnTo>
                          <a:pt x="733" y="667"/>
                        </a:lnTo>
                        <a:lnTo>
                          <a:pt x="733" y="664"/>
                        </a:lnTo>
                        <a:lnTo>
                          <a:pt x="733" y="662"/>
                        </a:lnTo>
                        <a:lnTo>
                          <a:pt x="733" y="660"/>
                        </a:lnTo>
                        <a:lnTo>
                          <a:pt x="733" y="657"/>
                        </a:lnTo>
                        <a:lnTo>
                          <a:pt x="733" y="655"/>
                        </a:lnTo>
                        <a:lnTo>
                          <a:pt x="731" y="655"/>
                        </a:lnTo>
                        <a:lnTo>
                          <a:pt x="728" y="653"/>
                        </a:lnTo>
                        <a:lnTo>
                          <a:pt x="726" y="650"/>
                        </a:lnTo>
                        <a:lnTo>
                          <a:pt x="724" y="645"/>
                        </a:lnTo>
                        <a:lnTo>
                          <a:pt x="724" y="645"/>
                        </a:lnTo>
                        <a:lnTo>
                          <a:pt x="721" y="643"/>
                        </a:lnTo>
                        <a:lnTo>
                          <a:pt x="712" y="636"/>
                        </a:lnTo>
                        <a:lnTo>
                          <a:pt x="712" y="634"/>
                        </a:lnTo>
                        <a:lnTo>
                          <a:pt x="714" y="631"/>
                        </a:lnTo>
                        <a:lnTo>
                          <a:pt x="717" y="627"/>
                        </a:lnTo>
                        <a:lnTo>
                          <a:pt x="717" y="627"/>
                        </a:lnTo>
                        <a:lnTo>
                          <a:pt x="719" y="627"/>
                        </a:lnTo>
                        <a:lnTo>
                          <a:pt x="721" y="627"/>
                        </a:lnTo>
                        <a:lnTo>
                          <a:pt x="724" y="627"/>
                        </a:lnTo>
                        <a:lnTo>
                          <a:pt x="726" y="629"/>
                        </a:lnTo>
                        <a:lnTo>
                          <a:pt x="728" y="629"/>
                        </a:lnTo>
                        <a:lnTo>
                          <a:pt x="731" y="627"/>
                        </a:lnTo>
                        <a:lnTo>
                          <a:pt x="736" y="619"/>
                        </a:lnTo>
                        <a:lnTo>
                          <a:pt x="738" y="617"/>
                        </a:lnTo>
                        <a:lnTo>
                          <a:pt x="752" y="608"/>
                        </a:lnTo>
                        <a:lnTo>
                          <a:pt x="766" y="596"/>
                        </a:lnTo>
                        <a:lnTo>
                          <a:pt x="766" y="593"/>
                        </a:lnTo>
                        <a:lnTo>
                          <a:pt x="769" y="591"/>
                        </a:lnTo>
                        <a:lnTo>
                          <a:pt x="769" y="591"/>
                        </a:lnTo>
                        <a:lnTo>
                          <a:pt x="769" y="589"/>
                        </a:lnTo>
                        <a:lnTo>
                          <a:pt x="769" y="586"/>
                        </a:lnTo>
                        <a:lnTo>
                          <a:pt x="769" y="586"/>
                        </a:lnTo>
                        <a:lnTo>
                          <a:pt x="769" y="584"/>
                        </a:lnTo>
                        <a:lnTo>
                          <a:pt x="766" y="582"/>
                        </a:lnTo>
                        <a:lnTo>
                          <a:pt x="766" y="579"/>
                        </a:lnTo>
                        <a:lnTo>
                          <a:pt x="762" y="579"/>
                        </a:lnTo>
                        <a:lnTo>
                          <a:pt x="762" y="577"/>
                        </a:lnTo>
                        <a:lnTo>
                          <a:pt x="762" y="574"/>
                        </a:lnTo>
                        <a:lnTo>
                          <a:pt x="762" y="563"/>
                        </a:lnTo>
                        <a:lnTo>
                          <a:pt x="762" y="556"/>
                        </a:lnTo>
                        <a:lnTo>
                          <a:pt x="764" y="546"/>
                        </a:lnTo>
                        <a:lnTo>
                          <a:pt x="764" y="541"/>
                        </a:lnTo>
                        <a:lnTo>
                          <a:pt x="766" y="537"/>
                        </a:lnTo>
                        <a:lnTo>
                          <a:pt x="769" y="537"/>
                        </a:lnTo>
                        <a:lnTo>
                          <a:pt x="769" y="532"/>
                        </a:lnTo>
                        <a:lnTo>
                          <a:pt x="769" y="532"/>
                        </a:lnTo>
                        <a:lnTo>
                          <a:pt x="769" y="529"/>
                        </a:lnTo>
                        <a:lnTo>
                          <a:pt x="769" y="522"/>
                        </a:lnTo>
                        <a:lnTo>
                          <a:pt x="766" y="520"/>
                        </a:lnTo>
                        <a:lnTo>
                          <a:pt x="766" y="515"/>
                        </a:lnTo>
                        <a:lnTo>
                          <a:pt x="764" y="513"/>
                        </a:lnTo>
                        <a:lnTo>
                          <a:pt x="762" y="511"/>
                        </a:lnTo>
                        <a:lnTo>
                          <a:pt x="759" y="511"/>
                        </a:lnTo>
                        <a:lnTo>
                          <a:pt x="759" y="511"/>
                        </a:lnTo>
                        <a:lnTo>
                          <a:pt x="757" y="513"/>
                        </a:lnTo>
                        <a:lnTo>
                          <a:pt x="757" y="515"/>
                        </a:lnTo>
                        <a:lnTo>
                          <a:pt x="757" y="515"/>
                        </a:lnTo>
                        <a:lnTo>
                          <a:pt x="755" y="515"/>
                        </a:lnTo>
                        <a:lnTo>
                          <a:pt x="752" y="515"/>
                        </a:lnTo>
                        <a:lnTo>
                          <a:pt x="752" y="513"/>
                        </a:lnTo>
                        <a:lnTo>
                          <a:pt x="750" y="511"/>
                        </a:lnTo>
                        <a:lnTo>
                          <a:pt x="750" y="503"/>
                        </a:lnTo>
                        <a:lnTo>
                          <a:pt x="747" y="501"/>
                        </a:lnTo>
                        <a:lnTo>
                          <a:pt x="747" y="499"/>
                        </a:lnTo>
                        <a:lnTo>
                          <a:pt x="747" y="496"/>
                        </a:lnTo>
                        <a:lnTo>
                          <a:pt x="745" y="496"/>
                        </a:lnTo>
                        <a:lnTo>
                          <a:pt x="745" y="494"/>
                        </a:lnTo>
                        <a:lnTo>
                          <a:pt x="745" y="492"/>
                        </a:lnTo>
                        <a:lnTo>
                          <a:pt x="745" y="485"/>
                        </a:lnTo>
                        <a:lnTo>
                          <a:pt x="750" y="470"/>
                        </a:lnTo>
                        <a:lnTo>
                          <a:pt x="755" y="468"/>
                        </a:lnTo>
                        <a:lnTo>
                          <a:pt x="757" y="466"/>
                        </a:lnTo>
                        <a:lnTo>
                          <a:pt x="764" y="461"/>
                        </a:lnTo>
                        <a:lnTo>
                          <a:pt x="764" y="461"/>
                        </a:lnTo>
                        <a:lnTo>
                          <a:pt x="766" y="459"/>
                        </a:lnTo>
                        <a:lnTo>
                          <a:pt x="769" y="456"/>
                        </a:lnTo>
                        <a:lnTo>
                          <a:pt x="769" y="454"/>
                        </a:lnTo>
                        <a:lnTo>
                          <a:pt x="769" y="451"/>
                        </a:lnTo>
                        <a:lnTo>
                          <a:pt x="769" y="449"/>
                        </a:lnTo>
                        <a:lnTo>
                          <a:pt x="769" y="437"/>
                        </a:lnTo>
                        <a:lnTo>
                          <a:pt x="771" y="435"/>
                        </a:lnTo>
                        <a:lnTo>
                          <a:pt x="771" y="432"/>
                        </a:lnTo>
                        <a:lnTo>
                          <a:pt x="773" y="430"/>
                        </a:lnTo>
                        <a:lnTo>
                          <a:pt x="776" y="430"/>
                        </a:lnTo>
                        <a:lnTo>
                          <a:pt x="778" y="430"/>
                        </a:lnTo>
                        <a:lnTo>
                          <a:pt x="785" y="432"/>
                        </a:lnTo>
                        <a:lnTo>
                          <a:pt x="790" y="432"/>
                        </a:lnTo>
                        <a:lnTo>
                          <a:pt x="790" y="432"/>
                        </a:lnTo>
                        <a:lnTo>
                          <a:pt x="792" y="432"/>
                        </a:lnTo>
                        <a:lnTo>
                          <a:pt x="792" y="430"/>
                        </a:lnTo>
                        <a:lnTo>
                          <a:pt x="795" y="428"/>
                        </a:lnTo>
                        <a:lnTo>
                          <a:pt x="797" y="425"/>
                        </a:lnTo>
                        <a:lnTo>
                          <a:pt x="797" y="425"/>
                        </a:lnTo>
                        <a:lnTo>
                          <a:pt x="799" y="425"/>
                        </a:lnTo>
                        <a:lnTo>
                          <a:pt x="799" y="423"/>
                        </a:lnTo>
                        <a:lnTo>
                          <a:pt x="807" y="423"/>
                        </a:lnTo>
                        <a:lnTo>
                          <a:pt x="809" y="423"/>
                        </a:lnTo>
                        <a:lnTo>
                          <a:pt x="809" y="421"/>
                        </a:lnTo>
                        <a:lnTo>
                          <a:pt x="821" y="411"/>
                        </a:lnTo>
                        <a:lnTo>
                          <a:pt x="825" y="406"/>
                        </a:lnTo>
                        <a:lnTo>
                          <a:pt x="825" y="406"/>
                        </a:lnTo>
                        <a:lnTo>
                          <a:pt x="825" y="404"/>
                        </a:lnTo>
                        <a:lnTo>
                          <a:pt x="823" y="399"/>
                        </a:lnTo>
                        <a:lnTo>
                          <a:pt x="821" y="397"/>
                        </a:lnTo>
                        <a:lnTo>
                          <a:pt x="821" y="397"/>
                        </a:lnTo>
                        <a:lnTo>
                          <a:pt x="818" y="397"/>
                        </a:lnTo>
                        <a:lnTo>
                          <a:pt x="816" y="397"/>
                        </a:lnTo>
                        <a:lnTo>
                          <a:pt x="816" y="397"/>
                        </a:lnTo>
                        <a:lnTo>
                          <a:pt x="816" y="399"/>
                        </a:lnTo>
                        <a:lnTo>
                          <a:pt x="814" y="404"/>
                        </a:lnTo>
                        <a:lnTo>
                          <a:pt x="814" y="404"/>
                        </a:lnTo>
                        <a:lnTo>
                          <a:pt x="814" y="406"/>
                        </a:lnTo>
                        <a:lnTo>
                          <a:pt x="811" y="406"/>
                        </a:lnTo>
                        <a:lnTo>
                          <a:pt x="811" y="406"/>
                        </a:lnTo>
                        <a:lnTo>
                          <a:pt x="807" y="409"/>
                        </a:lnTo>
                        <a:lnTo>
                          <a:pt x="807" y="409"/>
                        </a:lnTo>
                        <a:lnTo>
                          <a:pt x="802" y="406"/>
                        </a:lnTo>
                        <a:lnTo>
                          <a:pt x="802" y="406"/>
                        </a:lnTo>
                        <a:lnTo>
                          <a:pt x="799" y="404"/>
                        </a:lnTo>
                        <a:lnTo>
                          <a:pt x="799" y="399"/>
                        </a:lnTo>
                        <a:lnTo>
                          <a:pt x="797" y="390"/>
                        </a:lnTo>
                        <a:lnTo>
                          <a:pt x="797" y="385"/>
                        </a:lnTo>
                        <a:lnTo>
                          <a:pt x="797" y="383"/>
                        </a:lnTo>
                        <a:lnTo>
                          <a:pt x="795" y="383"/>
                        </a:lnTo>
                        <a:lnTo>
                          <a:pt x="792" y="380"/>
                        </a:lnTo>
                        <a:lnTo>
                          <a:pt x="781" y="378"/>
                        </a:lnTo>
                        <a:lnTo>
                          <a:pt x="778" y="378"/>
                        </a:lnTo>
                        <a:lnTo>
                          <a:pt x="778" y="378"/>
                        </a:lnTo>
                        <a:lnTo>
                          <a:pt x="778" y="376"/>
                        </a:lnTo>
                        <a:lnTo>
                          <a:pt x="776" y="373"/>
                        </a:lnTo>
                        <a:lnTo>
                          <a:pt x="776" y="366"/>
                        </a:lnTo>
                        <a:lnTo>
                          <a:pt x="776" y="364"/>
                        </a:lnTo>
                        <a:lnTo>
                          <a:pt x="776" y="364"/>
                        </a:lnTo>
                        <a:lnTo>
                          <a:pt x="773" y="362"/>
                        </a:lnTo>
                        <a:lnTo>
                          <a:pt x="766" y="364"/>
                        </a:lnTo>
                        <a:lnTo>
                          <a:pt x="766" y="364"/>
                        </a:lnTo>
                        <a:lnTo>
                          <a:pt x="764" y="364"/>
                        </a:lnTo>
                        <a:lnTo>
                          <a:pt x="764" y="362"/>
                        </a:lnTo>
                        <a:lnTo>
                          <a:pt x="764" y="359"/>
                        </a:lnTo>
                        <a:lnTo>
                          <a:pt x="764" y="357"/>
                        </a:lnTo>
                        <a:lnTo>
                          <a:pt x="769" y="352"/>
                        </a:lnTo>
                        <a:lnTo>
                          <a:pt x="771" y="350"/>
                        </a:lnTo>
                        <a:lnTo>
                          <a:pt x="773" y="350"/>
                        </a:lnTo>
                        <a:lnTo>
                          <a:pt x="773" y="350"/>
                        </a:lnTo>
                        <a:lnTo>
                          <a:pt x="776" y="347"/>
                        </a:lnTo>
                        <a:lnTo>
                          <a:pt x="781" y="338"/>
                        </a:lnTo>
                        <a:lnTo>
                          <a:pt x="783" y="335"/>
                        </a:lnTo>
                        <a:lnTo>
                          <a:pt x="785" y="335"/>
                        </a:lnTo>
                        <a:lnTo>
                          <a:pt x="788" y="333"/>
                        </a:lnTo>
                        <a:lnTo>
                          <a:pt x="788" y="333"/>
                        </a:lnTo>
                        <a:lnTo>
                          <a:pt x="790" y="331"/>
                        </a:lnTo>
                        <a:lnTo>
                          <a:pt x="788" y="326"/>
                        </a:lnTo>
                        <a:lnTo>
                          <a:pt x="788" y="326"/>
                        </a:lnTo>
                        <a:lnTo>
                          <a:pt x="788" y="324"/>
                        </a:lnTo>
                        <a:lnTo>
                          <a:pt x="785" y="324"/>
                        </a:lnTo>
                        <a:lnTo>
                          <a:pt x="778" y="321"/>
                        </a:lnTo>
                        <a:lnTo>
                          <a:pt x="778" y="321"/>
                        </a:lnTo>
                        <a:lnTo>
                          <a:pt x="776" y="319"/>
                        </a:lnTo>
                        <a:lnTo>
                          <a:pt x="776" y="319"/>
                        </a:lnTo>
                        <a:lnTo>
                          <a:pt x="776" y="317"/>
                        </a:lnTo>
                        <a:lnTo>
                          <a:pt x="776" y="314"/>
                        </a:lnTo>
                        <a:lnTo>
                          <a:pt x="781" y="312"/>
                        </a:lnTo>
                        <a:lnTo>
                          <a:pt x="781" y="309"/>
                        </a:lnTo>
                        <a:lnTo>
                          <a:pt x="785" y="309"/>
                        </a:lnTo>
                        <a:lnTo>
                          <a:pt x="788" y="309"/>
                        </a:lnTo>
                        <a:lnTo>
                          <a:pt x="790" y="300"/>
                        </a:lnTo>
                        <a:lnTo>
                          <a:pt x="802" y="269"/>
                        </a:lnTo>
                        <a:lnTo>
                          <a:pt x="797" y="260"/>
                        </a:lnTo>
                        <a:lnTo>
                          <a:pt x="797" y="257"/>
                        </a:lnTo>
                        <a:lnTo>
                          <a:pt x="797" y="255"/>
                        </a:lnTo>
                        <a:lnTo>
                          <a:pt x="797" y="255"/>
                        </a:lnTo>
                        <a:lnTo>
                          <a:pt x="802" y="253"/>
                        </a:lnTo>
                        <a:lnTo>
                          <a:pt x="804" y="250"/>
                        </a:lnTo>
                        <a:lnTo>
                          <a:pt x="807" y="248"/>
                        </a:lnTo>
                        <a:lnTo>
                          <a:pt x="809" y="241"/>
                        </a:lnTo>
                        <a:lnTo>
                          <a:pt x="811" y="241"/>
                        </a:lnTo>
                        <a:lnTo>
                          <a:pt x="816" y="238"/>
                        </a:lnTo>
                        <a:lnTo>
                          <a:pt x="818" y="236"/>
                        </a:lnTo>
                        <a:lnTo>
                          <a:pt x="821" y="234"/>
                        </a:lnTo>
                        <a:lnTo>
                          <a:pt x="821" y="231"/>
                        </a:lnTo>
                        <a:lnTo>
                          <a:pt x="821" y="227"/>
                        </a:lnTo>
                        <a:lnTo>
                          <a:pt x="823" y="220"/>
                        </a:lnTo>
                        <a:lnTo>
                          <a:pt x="823" y="217"/>
                        </a:lnTo>
                        <a:lnTo>
                          <a:pt x="825" y="217"/>
                        </a:lnTo>
                        <a:lnTo>
                          <a:pt x="825" y="217"/>
                        </a:lnTo>
                        <a:lnTo>
                          <a:pt x="828" y="220"/>
                        </a:lnTo>
                        <a:lnTo>
                          <a:pt x="830" y="234"/>
                        </a:lnTo>
                        <a:lnTo>
                          <a:pt x="830" y="234"/>
                        </a:lnTo>
                        <a:lnTo>
                          <a:pt x="833" y="236"/>
                        </a:lnTo>
                        <a:lnTo>
                          <a:pt x="835" y="236"/>
                        </a:lnTo>
                        <a:lnTo>
                          <a:pt x="835" y="236"/>
                        </a:lnTo>
                        <a:lnTo>
                          <a:pt x="837" y="234"/>
                        </a:lnTo>
                        <a:lnTo>
                          <a:pt x="837" y="229"/>
                        </a:lnTo>
                        <a:lnTo>
                          <a:pt x="842" y="222"/>
                        </a:lnTo>
                        <a:lnTo>
                          <a:pt x="842" y="220"/>
                        </a:lnTo>
                        <a:lnTo>
                          <a:pt x="842" y="217"/>
                        </a:lnTo>
                        <a:lnTo>
                          <a:pt x="823" y="205"/>
                        </a:lnTo>
                        <a:lnTo>
                          <a:pt x="818" y="203"/>
                        </a:lnTo>
                        <a:lnTo>
                          <a:pt x="816" y="201"/>
                        </a:lnTo>
                        <a:lnTo>
                          <a:pt x="814" y="201"/>
                        </a:lnTo>
                        <a:lnTo>
                          <a:pt x="814" y="201"/>
                        </a:lnTo>
                        <a:lnTo>
                          <a:pt x="811" y="201"/>
                        </a:lnTo>
                        <a:lnTo>
                          <a:pt x="811" y="203"/>
                        </a:lnTo>
                        <a:lnTo>
                          <a:pt x="807" y="205"/>
                        </a:lnTo>
                        <a:lnTo>
                          <a:pt x="807" y="205"/>
                        </a:lnTo>
                        <a:lnTo>
                          <a:pt x="804" y="208"/>
                        </a:lnTo>
                        <a:lnTo>
                          <a:pt x="799" y="208"/>
                        </a:lnTo>
                        <a:lnTo>
                          <a:pt x="797" y="208"/>
                        </a:lnTo>
                        <a:lnTo>
                          <a:pt x="795" y="208"/>
                        </a:lnTo>
                        <a:lnTo>
                          <a:pt x="795" y="208"/>
                        </a:lnTo>
                        <a:lnTo>
                          <a:pt x="795" y="210"/>
                        </a:lnTo>
                        <a:lnTo>
                          <a:pt x="792" y="215"/>
                        </a:lnTo>
                        <a:lnTo>
                          <a:pt x="790" y="217"/>
                        </a:lnTo>
                        <a:lnTo>
                          <a:pt x="790" y="217"/>
                        </a:lnTo>
                        <a:lnTo>
                          <a:pt x="788" y="217"/>
                        </a:lnTo>
                        <a:lnTo>
                          <a:pt x="788" y="217"/>
                        </a:lnTo>
                        <a:lnTo>
                          <a:pt x="785" y="217"/>
                        </a:lnTo>
                        <a:lnTo>
                          <a:pt x="783" y="217"/>
                        </a:lnTo>
                        <a:lnTo>
                          <a:pt x="778" y="212"/>
                        </a:lnTo>
                        <a:lnTo>
                          <a:pt x="776" y="212"/>
                        </a:lnTo>
                        <a:lnTo>
                          <a:pt x="773" y="210"/>
                        </a:lnTo>
                        <a:lnTo>
                          <a:pt x="771" y="210"/>
                        </a:lnTo>
                        <a:lnTo>
                          <a:pt x="769" y="212"/>
                        </a:lnTo>
                        <a:lnTo>
                          <a:pt x="766" y="212"/>
                        </a:lnTo>
                        <a:lnTo>
                          <a:pt x="762" y="215"/>
                        </a:lnTo>
                        <a:lnTo>
                          <a:pt x="757" y="217"/>
                        </a:lnTo>
                        <a:lnTo>
                          <a:pt x="752" y="217"/>
                        </a:lnTo>
                        <a:lnTo>
                          <a:pt x="721" y="215"/>
                        </a:lnTo>
                        <a:lnTo>
                          <a:pt x="717" y="212"/>
                        </a:lnTo>
                        <a:lnTo>
                          <a:pt x="710" y="208"/>
                        </a:lnTo>
                        <a:lnTo>
                          <a:pt x="705" y="203"/>
                        </a:lnTo>
                        <a:lnTo>
                          <a:pt x="693" y="201"/>
                        </a:lnTo>
                        <a:lnTo>
                          <a:pt x="691" y="201"/>
                        </a:lnTo>
                        <a:lnTo>
                          <a:pt x="676" y="201"/>
                        </a:lnTo>
                        <a:lnTo>
                          <a:pt x="674" y="201"/>
                        </a:lnTo>
                        <a:lnTo>
                          <a:pt x="672" y="201"/>
                        </a:lnTo>
                        <a:lnTo>
                          <a:pt x="669" y="198"/>
                        </a:lnTo>
                        <a:lnTo>
                          <a:pt x="665" y="196"/>
                        </a:lnTo>
                        <a:lnTo>
                          <a:pt x="662" y="194"/>
                        </a:lnTo>
                        <a:lnTo>
                          <a:pt x="660" y="191"/>
                        </a:lnTo>
                        <a:lnTo>
                          <a:pt x="643" y="184"/>
                        </a:lnTo>
                        <a:lnTo>
                          <a:pt x="641" y="182"/>
                        </a:lnTo>
                        <a:lnTo>
                          <a:pt x="636" y="179"/>
                        </a:lnTo>
                        <a:lnTo>
                          <a:pt x="634" y="165"/>
                        </a:lnTo>
                        <a:lnTo>
                          <a:pt x="631" y="163"/>
                        </a:lnTo>
                        <a:lnTo>
                          <a:pt x="631" y="160"/>
                        </a:lnTo>
                        <a:lnTo>
                          <a:pt x="629" y="160"/>
                        </a:lnTo>
                        <a:lnTo>
                          <a:pt x="627" y="158"/>
                        </a:lnTo>
                        <a:lnTo>
                          <a:pt x="624" y="158"/>
                        </a:lnTo>
                        <a:lnTo>
                          <a:pt x="624" y="156"/>
                        </a:lnTo>
                        <a:lnTo>
                          <a:pt x="624" y="149"/>
                        </a:lnTo>
                        <a:lnTo>
                          <a:pt x="624" y="146"/>
                        </a:lnTo>
                        <a:lnTo>
                          <a:pt x="622" y="146"/>
                        </a:lnTo>
                        <a:lnTo>
                          <a:pt x="615" y="141"/>
                        </a:lnTo>
                        <a:lnTo>
                          <a:pt x="613" y="139"/>
                        </a:lnTo>
                        <a:lnTo>
                          <a:pt x="613" y="137"/>
                        </a:lnTo>
                        <a:lnTo>
                          <a:pt x="613" y="134"/>
                        </a:lnTo>
                        <a:lnTo>
                          <a:pt x="613" y="132"/>
                        </a:lnTo>
                        <a:lnTo>
                          <a:pt x="610" y="127"/>
                        </a:lnTo>
                        <a:lnTo>
                          <a:pt x="610" y="125"/>
                        </a:lnTo>
                        <a:lnTo>
                          <a:pt x="613" y="125"/>
                        </a:lnTo>
                        <a:lnTo>
                          <a:pt x="613" y="123"/>
                        </a:lnTo>
                        <a:lnTo>
                          <a:pt x="617" y="123"/>
                        </a:lnTo>
                        <a:lnTo>
                          <a:pt x="620" y="120"/>
                        </a:lnTo>
                        <a:lnTo>
                          <a:pt x="620" y="120"/>
                        </a:lnTo>
                        <a:lnTo>
                          <a:pt x="622" y="115"/>
                        </a:lnTo>
                        <a:lnTo>
                          <a:pt x="622" y="113"/>
                        </a:lnTo>
                        <a:lnTo>
                          <a:pt x="624" y="108"/>
                        </a:lnTo>
                        <a:lnTo>
                          <a:pt x="629" y="101"/>
                        </a:lnTo>
                        <a:lnTo>
                          <a:pt x="629" y="99"/>
                        </a:lnTo>
                        <a:lnTo>
                          <a:pt x="629" y="94"/>
                        </a:lnTo>
                        <a:lnTo>
                          <a:pt x="629" y="89"/>
                        </a:lnTo>
                        <a:lnTo>
                          <a:pt x="631" y="82"/>
                        </a:lnTo>
                        <a:lnTo>
                          <a:pt x="631" y="80"/>
                        </a:lnTo>
                        <a:lnTo>
                          <a:pt x="634" y="78"/>
                        </a:lnTo>
                        <a:lnTo>
                          <a:pt x="634" y="75"/>
                        </a:lnTo>
                        <a:lnTo>
                          <a:pt x="631" y="73"/>
                        </a:lnTo>
                        <a:lnTo>
                          <a:pt x="631" y="73"/>
                        </a:lnTo>
                        <a:lnTo>
                          <a:pt x="629" y="73"/>
                        </a:lnTo>
                        <a:lnTo>
                          <a:pt x="627" y="73"/>
                        </a:lnTo>
                        <a:lnTo>
                          <a:pt x="624" y="73"/>
                        </a:lnTo>
                        <a:lnTo>
                          <a:pt x="615" y="75"/>
                        </a:lnTo>
                        <a:lnTo>
                          <a:pt x="613" y="78"/>
                        </a:lnTo>
                        <a:lnTo>
                          <a:pt x="605" y="82"/>
                        </a:lnTo>
                        <a:lnTo>
                          <a:pt x="603" y="82"/>
                        </a:lnTo>
                        <a:lnTo>
                          <a:pt x="598" y="85"/>
                        </a:lnTo>
                        <a:lnTo>
                          <a:pt x="589" y="82"/>
                        </a:lnTo>
                        <a:lnTo>
                          <a:pt x="587" y="82"/>
                        </a:lnTo>
                        <a:lnTo>
                          <a:pt x="584" y="80"/>
                        </a:lnTo>
                        <a:lnTo>
                          <a:pt x="584" y="80"/>
                        </a:lnTo>
                        <a:lnTo>
                          <a:pt x="584" y="78"/>
                        </a:lnTo>
                        <a:lnTo>
                          <a:pt x="587" y="78"/>
                        </a:lnTo>
                        <a:lnTo>
                          <a:pt x="589" y="73"/>
                        </a:lnTo>
                        <a:lnTo>
                          <a:pt x="589" y="71"/>
                        </a:lnTo>
                        <a:lnTo>
                          <a:pt x="591" y="71"/>
                        </a:lnTo>
                        <a:lnTo>
                          <a:pt x="589" y="68"/>
                        </a:lnTo>
                        <a:lnTo>
                          <a:pt x="587" y="66"/>
                        </a:lnTo>
                        <a:lnTo>
                          <a:pt x="582" y="63"/>
                        </a:lnTo>
                        <a:lnTo>
                          <a:pt x="579" y="63"/>
                        </a:lnTo>
                        <a:lnTo>
                          <a:pt x="577" y="63"/>
                        </a:lnTo>
                        <a:lnTo>
                          <a:pt x="577" y="63"/>
                        </a:lnTo>
                        <a:lnTo>
                          <a:pt x="575" y="66"/>
                        </a:lnTo>
                        <a:lnTo>
                          <a:pt x="575" y="66"/>
                        </a:lnTo>
                        <a:lnTo>
                          <a:pt x="572" y="68"/>
                        </a:lnTo>
                        <a:lnTo>
                          <a:pt x="572" y="68"/>
                        </a:lnTo>
                        <a:lnTo>
                          <a:pt x="561" y="71"/>
                        </a:lnTo>
                        <a:lnTo>
                          <a:pt x="556" y="68"/>
                        </a:lnTo>
                        <a:lnTo>
                          <a:pt x="551" y="66"/>
                        </a:lnTo>
                        <a:lnTo>
                          <a:pt x="539" y="56"/>
                        </a:lnTo>
                        <a:lnTo>
                          <a:pt x="537" y="52"/>
                        </a:lnTo>
                        <a:lnTo>
                          <a:pt x="534" y="49"/>
                        </a:lnTo>
                        <a:lnTo>
                          <a:pt x="534" y="47"/>
                        </a:lnTo>
                        <a:lnTo>
                          <a:pt x="532" y="47"/>
                        </a:lnTo>
                        <a:lnTo>
                          <a:pt x="527" y="44"/>
                        </a:lnTo>
                        <a:lnTo>
                          <a:pt x="525" y="44"/>
                        </a:lnTo>
                        <a:lnTo>
                          <a:pt x="523" y="44"/>
                        </a:lnTo>
                        <a:lnTo>
                          <a:pt x="520" y="44"/>
                        </a:lnTo>
                        <a:lnTo>
                          <a:pt x="520" y="47"/>
                        </a:lnTo>
                        <a:lnTo>
                          <a:pt x="518" y="47"/>
                        </a:lnTo>
                        <a:lnTo>
                          <a:pt x="518" y="49"/>
                        </a:lnTo>
                        <a:lnTo>
                          <a:pt x="516" y="54"/>
                        </a:lnTo>
                        <a:lnTo>
                          <a:pt x="516" y="56"/>
                        </a:lnTo>
                        <a:lnTo>
                          <a:pt x="516" y="56"/>
                        </a:lnTo>
                        <a:lnTo>
                          <a:pt x="511" y="56"/>
                        </a:lnTo>
                        <a:lnTo>
                          <a:pt x="506" y="59"/>
                        </a:lnTo>
                        <a:lnTo>
                          <a:pt x="504" y="59"/>
                        </a:lnTo>
                        <a:lnTo>
                          <a:pt x="504" y="61"/>
                        </a:lnTo>
                        <a:lnTo>
                          <a:pt x="501" y="61"/>
                        </a:lnTo>
                        <a:lnTo>
                          <a:pt x="501" y="63"/>
                        </a:lnTo>
                        <a:lnTo>
                          <a:pt x="501" y="66"/>
                        </a:lnTo>
                        <a:lnTo>
                          <a:pt x="492" y="75"/>
                        </a:lnTo>
                        <a:lnTo>
                          <a:pt x="490" y="78"/>
                        </a:lnTo>
                        <a:lnTo>
                          <a:pt x="468" y="85"/>
                        </a:lnTo>
                        <a:lnTo>
                          <a:pt x="466" y="87"/>
                        </a:lnTo>
                        <a:lnTo>
                          <a:pt x="466" y="87"/>
                        </a:lnTo>
                        <a:lnTo>
                          <a:pt x="466" y="89"/>
                        </a:lnTo>
                        <a:lnTo>
                          <a:pt x="466" y="89"/>
                        </a:lnTo>
                        <a:lnTo>
                          <a:pt x="466" y="92"/>
                        </a:lnTo>
                        <a:lnTo>
                          <a:pt x="468" y="92"/>
                        </a:lnTo>
                        <a:lnTo>
                          <a:pt x="468" y="94"/>
                        </a:lnTo>
                        <a:lnTo>
                          <a:pt x="471" y="94"/>
                        </a:lnTo>
                        <a:lnTo>
                          <a:pt x="473" y="97"/>
                        </a:lnTo>
                        <a:lnTo>
                          <a:pt x="482" y="99"/>
                        </a:lnTo>
                        <a:lnTo>
                          <a:pt x="485" y="99"/>
                        </a:lnTo>
                        <a:lnTo>
                          <a:pt x="485" y="99"/>
                        </a:lnTo>
                        <a:lnTo>
                          <a:pt x="485" y="101"/>
                        </a:lnTo>
                        <a:lnTo>
                          <a:pt x="485" y="104"/>
                        </a:lnTo>
                        <a:lnTo>
                          <a:pt x="482" y="106"/>
                        </a:lnTo>
                        <a:lnTo>
                          <a:pt x="478" y="108"/>
                        </a:lnTo>
                        <a:lnTo>
                          <a:pt x="473" y="108"/>
                        </a:lnTo>
                        <a:lnTo>
                          <a:pt x="468" y="108"/>
                        </a:lnTo>
                        <a:lnTo>
                          <a:pt x="423" y="120"/>
                        </a:lnTo>
                        <a:lnTo>
                          <a:pt x="411" y="115"/>
                        </a:lnTo>
                        <a:lnTo>
                          <a:pt x="411" y="115"/>
                        </a:lnTo>
                        <a:lnTo>
                          <a:pt x="409" y="113"/>
                        </a:lnTo>
                        <a:lnTo>
                          <a:pt x="409" y="111"/>
                        </a:lnTo>
                        <a:lnTo>
                          <a:pt x="409" y="111"/>
                        </a:lnTo>
                        <a:lnTo>
                          <a:pt x="411" y="108"/>
                        </a:lnTo>
                        <a:lnTo>
                          <a:pt x="411" y="106"/>
                        </a:lnTo>
                        <a:lnTo>
                          <a:pt x="414" y="104"/>
                        </a:lnTo>
                        <a:lnTo>
                          <a:pt x="411" y="101"/>
                        </a:lnTo>
                        <a:lnTo>
                          <a:pt x="409" y="101"/>
                        </a:lnTo>
                        <a:lnTo>
                          <a:pt x="409" y="101"/>
                        </a:lnTo>
                        <a:lnTo>
                          <a:pt x="407" y="101"/>
                        </a:lnTo>
                        <a:lnTo>
                          <a:pt x="404" y="101"/>
                        </a:lnTo>
                        <a:lnTo>
                          <a:pt x="404" y="104"/>
                        </a:lnTo>
                        <a:lnTo>
                          <a:pt x="404" y="104"/>
                        </a:lnTo>
                        <a:lnTo>
                          <a:pt x="404" y="106"/>
                        </a:lnTo>
                        <a:lnTo>
                          <a:pt x="404" y="106"/>
                        </a:lnTo>
                        <a:lnTo>
                          <a:pt x="404" y="108"/>
                        </a:lnTo>
                        <a:lnTo>
                          <a:pt x="402" y="108"/>
                        </a:lnTo>
                        <a:lnTo>
                          <a:pt x="400" y="113"/>
                        </a:lnTo>
                        <a:lnTo>
                          <a:pt x="400" y="113"/>
                        </a:lnTo>
                        <a:lnTo>
                          <a:pt x="397" y="118"/>
                        </a:lnTo>
                        <a:lnTo>
                          <a:pt x="388" y="134"/>
                        </a:lnTo>
                        <a:lnTo>
                          <a:pt x="388" y="134"/>
                        </a:lnTo>
                        <a:lnTo>
                          <a:pt x="385" y="134"/>
                        </a:lnTo>
                        <a:lnTo>
                          <a:pt x="381" y="132"/>
                        </a:lnTo>
                        <a:lnTo>
                          <a:pt x="378" y="132"/>
                        </a:lnTo>
                        <a:lnTo>
                          <a:pt x="374" y="130"/>
                        </a:lnTo>
                        <a:lnTo>
                          <a:pt x="374" y="127"/>
                        </a:lnTo>
                        <a:lnTo>
                          <a:pt x="367" y="127"/>
                        </a:lnTo>
                        <a:lnTo>
                          <a:pt x="364" y="125"/>
                        </a:lnTo>
                        <a:lnTo>
                          <a:pt x="364" y="125"/>
                        </a:lnTo>
                        <a:lnTo>
                          <a:pt x="362" y="125"/>
                        </a:lnTo>
                        <a:lnTo>
                          <a:pt x="359" y="123"/>
                        </a:lnTo>
                        <a:lnTo>
                          <a:pt x="348" y="118"/>
                        </a:lnTo>
                        <a:lnTo>
                          <a:pt x="326" y="106"/>
                        </a:lnTo>
                        <a:lnTo>
                          <a:pt x="317" y="104"/>
                        </a:lnTo>
                        <a:lnTo>
                          <a:pt x="300" y="108"/>
                        </a:lnTo>
                        <a:lnTo>
                          <a:pt x="300" y="108"/>
                        </a:lnTo>
                        <a:lnTo>
                          <a:pt x="298" y="111"/>
                        </a:lnTo>
                        <a:lnTo>
                          <a:pt x="296" y="111"/>
                        </a:lnTo>
                        <a:lnTo>
                          <a:pt x="296" y="113"/>
                        </a:lnTo>
                        <a:lnTo>
                          <a:pt x="296" y="113"/>
                        </a:lnTo>
                        <a:lnTo>
                          <a:pt x="293" y="118"/>
                        </a:lnTo>
                        <a:lnTo>
                          <a:pt x="293" y="120"/>
                        </a:lnTo>
                        <a:lnTo>
                          <a:pt x="291" y="123"/>
                        </a:lnTo>
                        <a:lnTo>
                          <a:pt x="281" y="125"/>
                        </a:lnTo>
                        <a:lnTo>
                          <a:pt x="279" y="125"/>
                        </a:lnTo>
                        <a:lnTo>
                          <a:pt x="262" y="113"/>
                        </a:lnTo>
                        <a:lnTo>
                          <a:pt x="260" y="111"/>
                        </a:lnTo>
                        <a:lnTo>
                          <a:pt x="248" y="101"/>
                        </a:lnTo>
                        <a:lnTo>
                          <a:pt x="248" y="101"/>
                        </a:lnTo>
                        <a:lnTo>
                          <a:pt x="248" y="99"/>
                        </a:lnTo>
                        <a:lnTo>
                          <a:pt x="248" y="99"/>
                        </a:lnTo>
                        <a:lnTo>
                          <a:pt x="246" y="97"/>
                        </a:lnTo>
                        <a:lnTo>
                          <a:pt x="246" y="92"/>
                        </a:lnTo>
                        <a:lnTo>
                          <a:pt x="243" y="87"/>
                        </a:lnTo>
                        <a:lnTo>
                          <a:pt x="227" y="87"/>
                        </a:lnTo>
                        <a:lnTo>
                          <a:pt x="222" y="85"/>
                        </a:lnTo>
                        <a:lnTo>
                          <a:pt x="220" y="85"/>
                        </a:lnTo>
                        <a:lnTo>
                          <a:pt x="210" y="75"/>
                        </a:lnTo>
                        <a:lnTo>
                          <a:pt x="208" y="71"/>
                        </a:lnTo>
                        <a:lnTo>
                          <a:pt x="206" y="71"/>
                        </a:lnTo>
                        <a:lnTo>
                          <a:pt x="187" y="68"/>
                        </a:lnTo>
                        <a:lnTo>
                          <a:pt x="184" y="71"/>
                        </a:lnTo>
                        <a:lnTo>
                          <a:pt x="177" y="75"/>
                        </a:lnTo>
                        <a:lnTo>
                          <a:pt x="175" y="75"/>
                        </a:lnTo>
                        <a:lnTo>
                          <a:pt x="168" y="73"/>
                        </a:lnTo>
                        <a:lnTo>
                          <a:pt x="163" y="68"/>
                        </a:lnTo>
                        <a:lnTo>
                          <a:pt x="163" y="66"/>
                        </a:lnTo>
                        <a:lnTo>
                          <a:pt x="158" y="59"/>
                        </a:lnTo>
                        <a:lnTo>
                          <a:pt x="156" y="59"/>
                        </a:lnTo>
                        <a:lnTo>
                          <a:pt x="156" y="56"/>
                        </a:lnTo>
                        <a:lnTo>
                          <a:pt x="154" y="56"/>
                        </a:lnTo>
                        <a:lnTo>
                          <a:pt x="146" y="56"/>
                        </a:lnTo>
                        <a:lnTo>
                          <a:pt x="132" y="47"/>
                        </a:lnTo>
                        <a:lnTo>
                          <a:pt x="120" y="49"/>
                        </a:lnTo>
                        <a:lnTo>
                          <a:pt x="116" y="49"/>
                        </a:lnTo>
                        <a:lnTo>
                          <a:pt x="113" y="44"/>
                        </a:lnTo>
                        <a:lnTo>
                          <a:pt x="111" y="42"/>
                        </a:lnTo>
                        <a:lnTo>
                          <a:pt x="109" y="42"/>
                        </a:lnTo>
                        <a:lnTo>
                          <a:pt x="90" y="28"/>
                        </a:lnTo>
                        <a:lnTo>
                          <a:pt x="87" y="26"/>
                        </a:lnTo>
                        <a:lnTo>
                          <a:pt x="87" y="23"/>
                        </a:lnTo>
                        <a:lnTo>
                          <a:pt x="87" y="23"/>
                        </a:lnTo>
                        <a:lnTo>
                          <a:pt x="87" y="21"/>
                        </a:lnTo>
                        <a:lnTo>
                          <a:pt x="92" y="21"/>
                        </a:lnTo>
                        <a:lnTo>
                          <a:pt x="92" y="18"/>
                        </a:lnTo>
                        <a:lnTo>
                          <a:pt x="92" y="16"/>
                        </a:lnTo>
                        <a:lnTo>
                          <a:pt x="90" y="14"/>
                        </a:lnTo>
                        <a:lnTo>
                          <a:pt x="87" y="11"/>
                        </a:lnTo>
                        <a:lnTo>
                          <a:pt x="87" y="11"/>
                        </a:lnTo>
                        <a:lnTo>
                          <a:pt x="68" y="4"/>
                        </a:lnTo>
                        <a:lnTo>
                          <a:pt x="57" y="2"/>
                        </a:lnTo>
                        <a:lnTo>
                          <a:pt x="47" y="0"/>
                        </a:lnTo>
                        <a:lnTo>
                          <a:pt x="45" y="2"/>
                        </a:lnTo>
                        <a:lnTo>
                          <a:pt x="45" y="2"/>
                        </a:lnTo>
                        <a:lnTo>
                          <a:pt x="42" y="2"/>
                        </a:lnTo>
                        <a:lnTo>
                          <a:pt x="40" y="4"/>
                        </a:lnTo>
                        <a:lnTo>
                          <a:pt x="35" y="9"/>
                        </a:lnTo>
                        <a:lnTo>
                          <a:pt x="31" y="18"/>
                        </a:lnTo>
                        <a:lnTo>
                          <a:pt x="23" y="28"/>
                        </a:lnTo>
                        <a:lnTo>
                          <a:pt x="21" y="35"/>
                        </a:lnTo>
                        <a:lnTo>
                          <a:pt x="19" y="37"/>
                        </a:lnTo>
                        <a:lnTo>
                          <a:pt x="19" y="37"/>
                        </a:lnTo>
                        <a:lnTo>
                          <a:pt x="19" y="42"/>
                        </a:lnTo>
                        <a:lnTo>
                          <a:pt x="19" y="44"/>
                        </a:lnTo>
                        <a:lnTo>
                          <a:pt x="16" y="44"/>
                        </a:lnTo>
                        <a:lnTo>
                          <a:pt x="16" y="47"/>
                        </a:lnTo>
                        <a:lnTo>
                          <a:pt x="7" y="49"/>
                        </a:lnTo>
                        <a:lnTo>
                          <a:pt x="2" y="52"/>
                        </a:lnTo>
                        <a:lnTo>
                          <a:pt x="2" y="52"/>
                        </a:lnTo>
                        <a:lnTo>
                          <a:pt x="0" y="54"/>
                        </a:lnTo>
                        <a:lnTo>
                          <a:pt x="0" y="54"/>
                        </a:lnTo>
                        <a:lnTo>
                          <a:pt x="0" y="56"/>
                        </a:lnTo>
                        <a:lnTo>
                          <a:pt x="0" y="59"/>
                        </a:lnTo>
                        <a:lnTo>
                          <a:pt x="2" y="61"/>
                        </a:lnTo>
                        <a:lnTo>
                          <a:pt x="12" y="71"/>
                        </a:lnTo>
                        <a:lnTo>
                          <a:pt x="23" y="80"/>
                        </a:lnTo>
                        <a:lnTo>
                          <a:pt x="49" y="94"/>
                        </a:lnTo>
                        <a:lnTo>
                          <a:pt x="54" y="97"/>
                        </a:lnTo>
                        <a:lnTo>
                          <a:pt x="57" y="99"/>
                        </a:lnTo>
                        <a:lnTo>
                          <a:pt x="57" y="99"/>
                        </a:lnTo>
                        <a:lnTo>
                          <a:pt x="57" y="101"/>
                        </a:lnTo>
                        <a:lnTo>
                          <a:pt x="57" y="104"/>
                        </a:lnTo>
                        <a:lnTo>
                          <a:pt x="57" y="106"/>
                        </a:lnTo>
                        <a:lnTo>
                          <a:pt x="57" y="106"/>
                        </a:lnTo>
                        <a:lnTo>
                          <a:pt x="57" y="108"/>
                        </a:lnTo>
                        <a:lnTo>
                          <a:pt x="59" y="115"/>
                        </a:lnTo>
                        <a:lnTo>
                          <a:pt x="61" y="118"/>
                        </a:lnTo>
                        <a:lnTo>
                          <a:pt x="61" y="120"/>
                        </a:lnTo>
                        <a:lnTo>
                          <a:pt x="61" y="123"/>
                        </a:lnTo>
                        <a:lnTo>
                          <a:pt x="61" y="125"/>
                        </a:lnTo>
                        <a:lnTo>
                          <a:pt x="61" y="127"/>
                        </a:lnTo>
                        <a:lnTo>
                          <a:pt x="64" y="127"/>
                        </a:lnTo>
                        <a:lnTo>
                          <a:pt x="64" y="125"/>
                        </a:lnTo>
                        <a:lnTo>
                          <a:pt x="64" y="125"/>
                        </a:lnTo>
                        <a:lnTo>
                          <a:pt x="66" y="118"/>
                        </a:lnTo>
                        <a:lnTo>
                          <a:pt x="68" y="118"/>
                        </a:lnTo>
                        <a:lnTo>
                          <a:pt x="68" y="118"/>
                        </a:lnTo>
                        <a:lnTo>
                          <a:pt x="73" y="120"/>
                        </a:lnTo>
                        <a:lnTo>
                          <a:pt x="75" y="120"/>
                        </a:lnTo>
                        <a:lnTo>
                          <a:pt x="75" y="123"/>
                        </a:lnTo>
                        <a:lnTo>
                          <a:pt x="75" y="125"/>
                        </a:lnTo>
                        <a:lnTo>
                          <a:pt x="73" y="130"/>
                        </a:lnTo>
                        <a:lnTo>
                          <a:pt x="73" y="130"/>
                        </a:lnTo>
                        <a:lnTo>
                          <a:pt x="73" y="132"/>
                        </a:lnTo>
                        <a:lnTo>
                          <a:pt x="73" y="134"/>
                        </a:lnTo>
                        <a:lnTo>
                          <a:pt x="75" y="134"/>
                        </a:lnTo>
                        <a:lnTo>
                          <a:pt x="78" y="134"/>
                        </a:lnTo>
                        <a:lnTo>
                          <a:pt x="80" y="134"/>
                        </a:lnTo>
                        <a:lnTo>
                          <a:pt x="85" y="132"/>
                        </a:lnTo>
                        <a:lnTo>
                          <a:pt x="87" y="132"/>
                        </a:lnTo>
                        <a:lnTo>
                          <a:pt x="90" y="132"/>
                        </a:lnTo>
                        <a:lnTo>
                          <a:pt x="94" y="134"/>
                        </a:lnTo>
                        <a:lnTo>
                          <a:pt x="97" y="134"/>
                        </a:lnTo>
                        <a:lnTo>
                          <a:pt x="99" y="137"/>
                        </a:lnTo>
                        <a:lnTo>
                          <a:pt x="99" y="137"/>
                        </a:lnTo>
                        <a:lnTo>
                          <a:pt x="99" y="139"/>
                        </a:lnTo>
                        <a:lnTo>
                          <a:pt x="99" y="141"/>
                        </a:lnTo>
                        <a:lnTo>
                          <a:pt x="99" y="144"/>
                        </a:lnTo>
                        <a:lnTo>
                          <a:pt x="102" y="146"/>
                        </a:lnTo>
                        <a:lnTo>
                          <a:pt x="102" y="149"/>
                        </a:lnTo>
                        <a:lnTo>
                          <a:pt x="104" y="151"/>
                        </a:lnTo>
                        <a:lnTo>
                          <a:pt x="106" y="151"/>
                        </a:lnTo>
                        <a:lnTo>
                          <a:pt x="109" y="151"/>
                        </a:lnTo>
                        <a:lnTo>
                          <a:pt x="111" y="151"/>
                        </a:lnTo>
                        <a:lnTo>
                          <a:pt x="113" y="151"/>
                        </a:lnTo>
                        <a:lnTo>
                          <a:pt x="116" y="151"/>
                        </a:lnTo>
                        <a:lnTo>
                          <a:pt x="120" y="153"/>
                        </a:lnTo>
                        <a:lnTo>
                          <a:pt x="123" y="156"/>
                        </a:lnTo>
                        <a:lnTo>
                          <a:pt x="125" y="158"/>
                        </a:lnTo>
                        <a:lnTo>
                          <a:pt x="125" y="160"/>
                        </a:lnTo>
                        <a:lnTo>
                          <a:pt x="125" y="160"/>
                        </a:lnTo>
                        <a:lnTo>
                          <a:pt x="125" y="163"/>
                        </a:lnTo>
                        <a:lnTo>
                          <a:pt x="123" y="168"/>
                        </a:lnTo>
                        <a:lnTo>
                          <a:pt x="120" y="170"/>
                        </a:lnTo>
                        <a:lnTo>
                          <a:pt x="120" y="172"/>
                        </a:lnTo>
                        <a:lnTo>
                          <a:pt x="120" y="175"/>
                        </a:lnTo>
                        <a:lnTo>
                          <a:pt x="118" y="177"/>
                        </a:lnTo>
                        <a:lnTo>
                          <a:pt x="118" y="179"/>
                        </a:lnTo>
                        <a:lnTo>
                          <a:pt x="120" y="179"/>
                        </a:lnTo>
                        <a:lnTo>
                          <a:pt x="132" y="184"/>
                        </a:lnTo>
                        <a:lnTo>
                          <a:pt x="139" y="186"/>
                        </a:lnTo>
                        <a:lnTo>
                          <a:pt x="144" y="189"/>
                        </a:lnTo>
                        <a:lnTo>
                          <a:pt x="156" y="203"/>
                        </a:lnTo>
                        <a:lnTo>
                          <a:pt x="170" y="212"/>
                        </a:lnTo>
                        <a:lnTo>
                          <a:pt x="182" y="227"/>
                        </a:lnTo>
                        <a:lnTo>
                          <a:pt x="196" y="255"/>
                        </a:lnTo>
                        <a:lnTo>
                          <a:pt x="203" y="272"/>
                        </a:lnTo>
                        <a:lnTo>
                          <a:pt x="225" y="371"/>
                        </a:lnTo>
                        <a:lnTo>
                          <a:pt x="236" y="404"/>
                        </a:lnTo>
                        <a:lnTo>
                          <a:pt x="239" y="409"/>
                        </a:lnTo>
                        <a:lnTo>
                          <a:pt x="251" y="414"/>
                        </a:lnTo>
                        <a:lnTo>
                          <a:pt x="255" y="418"/>
                        </a:lnTo>
                        <a:lnTo>
                          <a:pt x="279" y="442"/>
                        </a:lnTo>
                        <a:lnTo>
                          <a:pt x="310" y="492"/>
                        </a:lnTo>
                        <a:lnTo>
                          <a:pt x="314" y="499"/>
                        </a:lnTo>
                        <a:lnTo>
                          <a:pt x="317" y="508"/>
                        </a:lnTo>
                        <a:lnTo>
                          <a:pt x="319" y="525"/>
                        </a:lnTo>
                        <a:lnTo>
                          <a:pt x="322" y="534"/>
                        </a:lnTo>
                        <a:lnTo>
                          <a:pt x="324" y="541"/>
                        </a:lnTo>
                        <a:lnTo>
                          <a:pt x="324" y="546"/>
                        </a:lnTo>
                        <a:lnTo>
                          <a:pt x="324" y="556"/>
                        </a:lnTo>
                        <a:lnTo>
                          <a:pt x="324" y="565"/>
                        </a:lnTo>
                        <a:lnTo>
                          <a:pt x="326" y="570"/>
                        </a:lnTo>
                        <a:lnTo>
                          <a:pt x="322" y="593"/>
                        </a:lnTo>
                        <a:lnTo>
                          <a:pt x="319" y="603"/>
                        </a:lnTo>
                        <a:lnTo>
                          <a:pt x="312" y="610"/>
                        </a:lnTo>
                        <a:lnTo>
                          <a:pt x="322" y="629"/>
                        </a:lnTo>
                        <a:lnTo>
                          <a:pt x="329" y="636"/>
                        </a:lnTo>
                        <a:lnTo>
                          <a:pt x="336" y="631"/>
                        </a:lnTo>
                        <a:lnTo>
                          <a:pt x="333" y="629"/>
                        </a:lnTo>
                        <a:lnTo>
                          <a:pt x="333" y="624"/>
                        </a:lnTo>
                        <a:lnTo>
                          <a:pt x="345" y="617"/>
                        </a:lnTo>
                        <a:lnTo>
                          <a:pt x="362" y="617"/>
                        </a:lnTo>
                        <a:lnTo>
                          <a:pt x="376" y="619"/>
                        </a:lnTo>
                        <a:lnTo>
                          <a:pt x="400" y="627"/>
                        </a:lnTo>
                        <a:lnTo>
                          <a:pt x="404" y="629"/>
                        </a:lnTo>
                        <a:lnTo>
                          <a:pt x="407" y="631"/>
                        </a:lnTo>
                        <a:lnTo>
                          <a:pt x="409" y="638"/>
                        </a:lnTo>
                        <a:lnTo>
                          <a:pt x="409" y="641"/>
                        </a:lnTo>
                        <a:lnTo>
                          <a:pt x="407" y="643"/>
                        </a:lnTo>
                        <a:lnTo>
                          <a:pt x="407" y="645"/>
                        </a:lnTo>
                        <a:lnTo>
                          <a:pt x="407" y="655"/>
                        </a:lnTo>
                        <a:lnTo>
                          <a:pt x="409" y="664"/>
                        </a:lnTo>
                        <a:lnTo>
                          <a:pt x="407" y="671"/>
                        </a:lnTo>
                        <a:lnTo>
                          <a:pt x="400" y="679"/>
                        </a:lnTo>
                        <a:lnTo>
                          <a:pt x="452" y="688"/>
                        </a:lnTo>
                        <a:lnTo>
                          <a:pt x="468" y="695"/>
                        </a:lnTo>
                        <a:lnTo>
                          <a:pt x="478" y="705"/>
                        </a:lnTo>
                        <a:lnTo>
                          <a:pt x="482" y="705"/>
                        </a:lnTo>
                        <a:lnTo>
                          <a:pt x="485" y="707"/>
                        </a:lnTo>
                        <a:lnTo>
                          <a:pt x="487" y="712"/>
                        </a:lnTo>
                        <a:lnTo>
                          <a:pt x="490" y="719"/>
                        </a:lnTo>
                        <a:lnTo>
                          <a:pt x="492" y="724"/>
                        </a:lnTo>
                        <a:lnTo>
                          <a:pt x="508" y="731"/>
                        </a:lnTo>
                        <a:lnTo>
                          <a:pt x="516" y="735"/>
                        </a:lnTo>
                        <a:lnTo>
                          <a:pt x="518" y="745"/>
                        </a:lnTo>
                        <a:lnTo>
                          <a:pt x="523" y="747"/>
                        </a:lnTo>
                        <a:lnTo>
                          <a:pt x="527" y="752"/>
                        </a:lnTo>
                        <a:lnTo>
                          <a:pt x="530" y="759"/>
                        </a:lnTo>
                        <a:lnTo>
                          <a:pt x="534" y="766"/>
                        </a:lnTo>
                        <a:lnTo>
                          <a:pt x="539" y="764"/>
                        </a:lnTo>
                        <a:lnTo>
                          <a:pt x="542" y="761"/>
                        </a:lnTo>
                        <a:lnTo>
                          <a:pt x="544" y="761"/>
                        </a:lnTo>
                        <a:lnTo>
                          <a:pt x="549" y="768"/>
                        </a:lnTo>
                        <a:lnTo>
                          <a:pt x="556" y="778"/>
                        </a:lnTo>
                        <a:lnTo>
                          <a:pt x="558" y="785"/>
                        </a:lnTo>
                        <a:lnTo>
                          <a:pt x="556" y="797"/>
                        </a:lnTo>
                        <a:lnTo>
                          <a:pt x="556" y="806"/>
                        </a:lnTo>
                        <a:lnTo>
                          <a:pt x="553" y="811"/>
                        </a:lnTo>
                        <a:lnTo>
                          <a:pt x="539" y="813"/>
                        </a:lnTo>
                        <a:lnTo>
                          <a:pt x="532" y="816"/>
                        </a:lnTo>
                        <a:lnTo>
                          <a:pt x="527" y="821"/>
                        </a:lnTo>
                        <a:lnTo>
                          <a:pt x="530" y="825"/>
                        </a:lnTo>
                        <a:lnTo>
                          <a:pt x="534" y="832"/>
                        </a:lnTo>
                        <a:lnTo>
                          <a:pt x="539" y="837"/>
                        </a:lnTo>
                        <a:lnTo>
                          <a:pt x="546" y="839"/>
                        </a:lnTo>
                        <a:lnTo>
                          <a:pt x="551" y="844"/>
                        </a:lnTo>
                        <a:lnTo>
                          <a:pt x="556" y="844"/>
                        </a:lnTo>
                        <a:lnTo>
                          <a:pt x="556" y="844"/>
                        </a:lnTo>
                        <a:lnTo>
                          <a:pt x="558" y="844"/>
                        </a:lnTo>
                        <a:lnTo>
                          <a:pt x="561" y="844"/>
                        </a:lnTo>
                        <a:lnTo>
                          <a:pt x="563" y="844"/>
                        </a:lnTo>
                        <a:lnTo>
                          <a:pt x="563" y="839"/>
                        </a:lnTo>
                        <a:lnTo>
                          <a:pt x="568" y="830"/>
                        </a:lnTo>
                        <a:lnTo>
                          <a:pt x="568" y="825"/>
                        </a:lnTo>
                        <a:lnTo>
                          <a:pt x="570" y="821"/>
                        </a:lnTo>
                        <a:lnTo>
                          <a:pt x="575" y="818"/>
                        </a:lnTo>
                        <a:lnTo>
                          <a:pt x="579" y="818"/>
                        </a:lnTo>
                        <a:lnTo>
                          <a:pt x="584" y="818"/>
                        </a:lnTo>
                        <a:lnTo>
                          <a:pt x="608" y="823"/>
                        </a:lnTo>
                        <a:lnTo>
                          <a:pt x="617" y="823"/>
                        </a:lnTo>
                        <a:lnTo>
                          <a:pt x="615" y="821"/>
                        </a:lnTo>
                        <a:lnTo>
                          <a:pt x="617" y="818"/>
                        </a:lnTo>
                        <a:lnTo>
                          <a:pt x="620" y="818"/>
                        </a:lnTo>
                        <a:lnTo>
                          <a:pt x="624" y="818"/>
                        </a:lnTo>
                        <a:lnTo>
                          <a:pt x="627" y="821"/>
                        </a:lnTo>
                        <a:lnTo>
                          <a:pt x="627" y="823"/>
                        </a:lnTo>
                        <a:lnTo>
                          <a:pt x="636" y="825"/>
                        </a:lnTo>
                        <a:lnTo>
                          <a:pt x="646" y="830"/>
                        </a:lnTo>
                        <a:lnTo>
                          <a:pt x="650" y="809"/>
                        </a:lnTo>
                        <a:lnTo>
                          <a:pt x="650" y="809"/>
                        </a:lnTo>
                        <a:close/>
                        <a:moveTo>
                          <a:pt x="305" y="681"/>
                        </a:moveTo>
                        <a:lnTo>
                          <a:pt x="305" y="681"/>
                        </a:lnTo>
                        <a:lnTo>
                          <a:pt x="307" y="686"/>
                        </a:lnTo>
                        <a:lnTo>
                          <a:pt x="310" y="690"/>
                        </a:lnTo>
                        <a:lnTo>
                          <a:pt x="307" y="697"/>
                        </a:lnTo>
                        <a:lnTo>
                          <a:pt x="305" y="702"/>
                        </a:lnTo>
                        <a:lnTo>
                          <a:pt x="300" y="707"/>
                        </a:lnTo>
                        <a:lnTo>
                          <a:pt x="296" y="709"/>
                        </a:lnTo>
                        <a:lnTo>
                          <a:pt x="303" y="712"/>
                        </a:lnTo>
                        <a:lnTo>
                          <a:pt x="307" y="716"/>
                        </a:lnTo>
                        <a:lnTo>
                          <a:pt x="312" y="726"/>
                        </a:lnTo>
                        <a:lnTo>
                          <a:pt x="307" y="731"/>
                        </a:lnTo>
                        <a:lnTo>
                          <a:pt x="305" y="728"/>
                        </a:lnTo>
                        <a:lnTo>
                          <a:pt x="303" y="728"/>
                        </a:lnTo>
                        <a:lnTo>
                          <a:pt x="300" y="728"/>
                        </a:lnTo>
                        <a:lnTo>
                          <a:pt x="296" y="726"/>
                        </a:lnTo>
                        <a:lnTo>
                          <a:pt x="296" y="724"/>
                        </a:lnTo>
                        <a:lnTo>
                          <a:pt x="291" y="716"/>
                        </a:lnTo>
                        <a:lnTo>
                          <a:pt x="288" y="716"/>
                        </a:lnTo>
                        <a:lnTo>
                          <a:pt x="286" y="714"/>
                        </a:lnTo>
                        <a:lnTo>
                          <a:pt x="281" y="712"/>
                        </a:lnTo>
                        <a:lnTo>
                          <a:pt x="277" y="712"/>
                        </a:lnTo>
                        <a:lnTo>
                          <a:pt x="274" y="721"/>
                        </a:lnTo>
                        <a:lnTo>
                          <a:pt x="269" y="714"/>
                        </a:lnTo>
                        <a:lnTo>
                          <a:pt x="260" y="721"/>
                        </a:lnTo>
                        <a:lnTo>
                          <a:pt x="253" y="716"/>
                        </a:lnTo>
                        <a:lnTo>
                          <a:pt x="251" y="724"/>
                        </a:lnTo>
                        <a:lnTo>
                          <a:pt x="251" y="726"/>
                        </a:lnTo>
                        <a:lnTo>
                          <a:pt x="248" y="728"/>
                        </a:lnTo>
                        <a:lnTo>
                          <a:pt x="222" y="731"/>
                        </a:lnTo>
                        <a:lnTo>
                          <a:pt x="215" y="728"/>
                        </a:lnTo>
                        <a:lnTo>
                          <a:pt x="210" y="724"/>
                        </a:lnTo>
                        <a:lnTo>
                          <a:pt x="206" y="712"/>
                        </a:lnTo>
                        <a:lnTo>
                          <a:pt x="208" y="705"/>
                        </a:lnTo>
                        <a:lnTo>
                          <a:pt x="215" y="700"/>
                        </a:lnTo>
                        <a:lnTo>
                          <a:pt x="222" y="695"/>
                        </a:lnTo>
                        <a:lnTo>
                          <a:pt x="229" y="695"/>
                        </a:lnTo>
                        <a:lnTo>
                          <a:pt x="232" y="695"/>
                        </a:lnTo>
                        <a:lnTo>
                          <a:pt x="239" y="697"/>
                        </a:lnTo>
                        <a:lnTo>
                          <a:pt x="243" y="697"/>
                        </a:lnTo>
                        <a:lnTo>
                          <a:pt x="248" y="697"/>
                        </a:lnTo>
                        <a:lnTo>
                          <a:pt x="255" y="697"/>
                        </a:lnTo>
                        <a:lnTo>
                          <a:pt x="255" y="695"/>
                        </a:lnTo>
                        <a:lnTo>
                          <a:pt x="255" y="695"/>
                        </a:lnTo>
                        <a:lnTo>
                          <a:pt x="255" y="695"/>
                        </a:lnTo>
                        <a:lnTo>
                          <a:pt x="253" y="693"/>
                        </a:lnTo>
                        <a:lnTo>
                          <a:pt x="258" y="690"/>
                        </a:lnTo>
                        <a:lnTo>
                          <a:pt x="258" y="688"/>
                        </a:lnTo>
                        <a:lnTo>
                          <a:pt x="258" y="686"/>
                        </a:lnTo>
                        <a:lnTo>
                          <a:pt x="262" y="686"/>
                        </a:lnTo>
                        <a:lnTo>
                          <a:pt x="274" y="686"/>
                        </a:lnTo>
                        <a:lnTo>
                          <a:pt x="274" y="690"/>
                        </a:lnTo>
                        <a:lnTo>
                          <a:pt x="277" y="693"/>
                        </a:lnTo>
                        <a:lnTo>
                          <a:pt x="281" y="693"/>
                        </a:lnTo>
                        <a:lnTo>
                          <a:pt x="284" y="690"/>
                        </a:lnTo>
                        <a:lnTo>
                          <a:pt x="284" y="688"/>
                        </a:lnTo>
                        <a:lnTo>
                          <a:pt x="286" y="686"/>
                        </a:lnTo>
                        <a:lnTo>
                          <a:pt x="288" y="683"/>
                        </a:lnTo>
                        <a:lnTo>
                          <a:pt x="291" y="681"/>
                        </a:lnTo>
                        <a:lnTo>
                          <a:pt x="293" y="669"/>
                        </a:lnTo>
                        <a:lnTo>
                          <a:pt x="293" y="664"/>
                        </a:lnTo>
                        <a:lnTo>
                          <a:pt x="298" y="662"/>
                        </a:lnTo>
                        <a:lnTo>
                          <a:pt x="300" y="662"/>
                        </a:lnTo>
                        <a:lnTo>
                          <a:pt x="305" y="664"/>
                        </a:lnTo>
                        <a:lnTo>
                          <a:pt x="307" y="669"/>
                        </a:lnTo>
                        <a:lnTo>
                          <a:pt x="310" y="671"/>
                        </a:lnTo>
                        <a:lnTo>
                          <a:pt x="307" y="676"/>
                        </a:lnTo>
                        <a:lnTo>
                          <a:pt x="305" y="681"/>
                        </a:lnTo>
                        <a:close/>
                        <a:moveTo>
                          <a:pt x="482" y="861"/>
                        </a:moveTo>
                        <a:lnTo>
                          <a:pt x="482" y="861"/>
                        </a:lnTo>
                        <a:lnTo>
                          <a:pt x="485" y="863"/>
                        </a:lnTo>
                        <a:lnTo>
                          <a:pt x="485" y="865"/>
                        </a:lnTo>
                        <a:lnTo>
                          <a:pt x="485" y="868"/>
                        </a:lnTo>
                        <a:lnTo>
                          <a:pt x="480" y="873"/>
                        </a:lnTo>
                        <a:lnTo>
                          <a:pt x="468" y="861"/>
                        </a:lnTo>
                        <a:lnTo>
                          <a:pt x="464" y="858"/>
                        </a:lnTo>
                        <a:lnTo>
                          <a:pt x="466" y="854"/>
                        </a:lnTo>
                        <a:lnTo>
                          <a:pt x="466" y="849"/>
                        </a:lnTo>
                        <a:lnTo>
                          <a:pt x="468" y="847"/>
                        </a:lnTo>
                        <a:lnTo>
                          <a:pt x="473" y="849"/>
                        </a:lnTo>
                        <a:lnTo>
                          <a:pt x="478" y="851"/>
                        </a:lnTo>
                        <a:lnTo>
                          <a:pt x="482" y="861"/>
                        </a:lnTo>
                        <a:close/>
                        <a:moveTo>
                          <a:pt x="113" y="605"/>
                        </a:moveTo>
                        <a:lnTo>
                          <a:pt x="113" y="605"/>
                        </a:lnTo>
                        <a:lnTo>
                          <a:pt x="116" y="605"/>
                        </a:lnTo>
                        <a:lnTo>
                          <a:pt x="113" y="615"/>
                        </a:lnTo>
                        <a:lnTo>
                          <a:pt x="111" y="622"/>
                        </a:lnTo>
                        <a:lnTo>
                          <a:pt x="104" y="624"/>
                        </a:lnTo>
                        <a:lnTo>
                          <a:pt x="99" y="617"/>
                        </a:lnTo>
                        <a:lnTo>
                          <a:pt x="104" y="600"/>
                        </a:lnTo>
                        <a:lnTo>
                          <a:pt x="106" y="596"/>
                        </a:lnTo>
                        <a:lnTo>
                          <a:pt x="111" y="603"/>
                        </a:lnTo>
                        <a:lnTo>
                          <a:pt x="113" y="603"/>
                        </a:lnTo>
                        <a:lnTo>
                          <a:pt x="113" y="605"/>
                        </a:lnTo>
                        <a:lnTo>
                          <a:pt x="113" y="605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29" name="Freeform 21">
                    <a:extLst>
                      <a:ext uri="{FF2B5EF4-FFF2-40B4-BE49-F238E27FC236}">
                        <a16:creationId xmlns:a16="http://schemas.microsoft.com/office/drawing/2014/main" id="{8622E496-8121-4FD3-A288-D1F5A5775B9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222807" y="4147178"/>
                    <a:ext cx="644866" cy="653979"/>
                  </a:xfrm>
                  <a:custGeom>
                    <a:avLst/>
                    <a:gdLst>
                      <a:gd name="T0" fmla="*/ 483 w 507"/>
                      <a:gd name="T1" fmla="*/ 329 h 514"/>
                      <a:gd name="T2" fmla="*/ 424 w 507"/>
                      <a:gd name="T3" fmla="*/ 381 h 514"/>
                      <a:gd name="T4" fmla="*/ 396 w 507"/>
                      <a:gd name="T5" fmla="*/ 384 h 514"/>
                      <a:gd name="T6" fmla="*/ 388 w 507"/>
                      <a:gd name="T7" fmla="*/ 388 h 514"/>
                      <a:gd name="T8" fmla="*/ 388 w 507"/>
                      <a:gd name="T9" fmla="*/ 426 h 514"/>
                      <a:gd name="T10" fmla="*/ 388 w 507"/>
                      <a:gd name="T11" fmla="*/ 445 h 514"/>
                      <a:gd name="T12" fmla="*/ 384 w 507"/>
                      <a:gd name="T13" fmla="*/ 462 h 514"/>
                      <a:gd name="T14" fmla="*/ 381 w 507"/>
                      <a:gd name="T15" fmla="*/ 471 h 514"/>
                      <a:gd name="T16" fmla="*/ 388 w 507"/>
                      <a:gd name="T17" fmla="*/ 483 h 514"/>
                      <a:gd name="T18" fmla="*/ 379 w 507"/>
                      <a:gd name="T19" fmla="*/ 478 h 514"/>
                      <a:gd name="T20" fmla="*/ 367 w 507"/>
                      <a:gd name="T21" fmla="*/ 473 h 514"/>
                      <a:gd name="T22" fmla="*/ 339 w 507"/>
                      <a:gd name="T23" fmla="*/ 488 h 514"/>
                      <a:gd name="T24" fmla="*/ 291 w 507"/>
                      <a:gd name="T25" fmla="*/ 499 h 514"/>
                      <a:gd name="T26" fmla="*/ 275 w 507"/>
                      <a:gd name="T27" fmla="*/ 481 h 514"/>
                      <a:gd name="T28" fmla="*/ 268 w 507"/>
                      <a:gd name="T29" fmla="*/ 476 h 514"/>
                      <a:gd name="T30" fmla="*/ 254 w 507"/>
                      <a:gd name="T31" fmla="*/ 466 h 514"/>
                      <a:gd name="T32" fmla="*/ 239 w 507"/>
                      <a:gd name="T33" fmla="*/ 478 h 514"/>
                      <a:gd name="T34" fmla="*/ 223 w 507"/>
                      <a:gd name="T35" fmla="*/ 471 h 514"/>
                      <a:gd name="T36" fmla="*/ 194 w 507"/>
                      <a:gd name="T37" fmla="*/ 511 h 514"/>
                      <a:gd name="T38" fmla="*/ 154 w 507"/>
                      <a:gd name="T39" fmla="*/ 469 h 514"/>
                      <a:gd name="T40" fmla="*/ 152 w 507"/>
                      <a:gd name="T41" fmla="*/ 457 h 514"/>
                      <a:gd name="T42" fmla="*/ 161 w 507"/>
                      <a:gd name="T43" fmla="*/ 426 h 514"/>
                      <a:gd name="T44" fmla="*/ 166 w 507"/>
                      <a:gd name="T45" fmla="*/ 405 h 514"/>
                      <a:gd name="T46" fmla="*/ 178 w 507"/>
                      <a:gd name="T47" fmla="*/ 391 h 514"/>
                      <a:gd name="T48" fmla="*/ 183 w 507"/>
                      <a:gd name="T49" fmla="*/ 369 h 514"/>
                      <a:gd name="T50" fmla="*/ 168 w 507"/>
                      <a:gd name="T51" fmla="*/ 358 h 514"/>
                      <a:gd name="T52" fmla="*/ 154 w 507"/>
                      <a:gd name="T53" fmla="*/ 348 h 514"/>
                      <a:gd name="T54" fmla="*/ 140 w 507"/>
                      <a:gd name="T55" fmla="*/ 324 h 514"/>
                      <a:gd name="T56" fmla="*/ 121 w 507"/>
                      <a:gd name="T57" fmla="*/ 315 h 514"/>
                      <a:gd name="T58" fmla="*/ 107 w 507"/>
                      <a:gd name="T59" fmla="*/ 310 h 514"/>
                      <a:gd name="T60" fmla="*/ 88 w 507"/>
                      <a:gd name="T61" fmla="*/ 294 h 514"/>
                      <a:gd name="T62" fmla="*/ 86 w 507"/>
                      <a:gd name="T63" fmla="*/ 279 h 514"/>
                      <a:gd name="T64" fmla="*/ 60 w 507"/>
                      <a:gd name="T65" fmla="*/ 251 h 514"/>
                      <a:gd name="T66" fmla="*/ 48 w 507"/>
                      <a:gd name="T67" fmla="*/ 244 h 514"/>
                      <a:gd name="T68" fmla="*/ 57 w 507"/>
                      <a:gd name="T69" fmla="*/ 230 h 514"/>
                      <a:gd name="T70" fmla="*/ 50 w 507"/>
                      <a:gd name="T71" fmla="*/ 220 h 514"/>
                      <a:gd name="T72" fmla="*/ 26 w 507"/>
                      <a:gd name="T73" fmla="*/ 206 h 514"/>
                      <a:gd name="T74" fmla="*/ 12 w 507"/>
                      <a:gd name="T75" fmla="*/ 180 h 514"/>
                      <a:gd name="T76" fmla="*/ 10 w 507"/>
                      <a:gd name="T77" fmla="*/ 171 h 514"/>
                      <a:gd name="T78" fmla="*/ 5 w 507"/>
                      <a:gd name="T79" fmla="*/ 152 h 514"/>
                      <a:gd name="T80" fmla="*/ 41 w 507"/>
                      <a:gd name="T81" fmla="*/ 119 h 514"/>
                      <a:gd name="T82" fmla="*/ 57 w 507"/>
                      <a:gd name="T83" fmla="*/ 62 h 514"/>
                      <a:gd name="T84" fmla="*/ 107 w 507"/>
                      <a:gd name="T85" fmla="*/ 19 h 514"/>
                      <a:gd name="T86" fmla="*/ 152 w 507"/>
                      <a:gd name="T87" fmla="*/ 12 h 514"/>
                      <a:gd name="T88" fmla="*/ 199 w 507"/>
                      <a:gd name="T89" fmla="*/ 38 h 514"/>
                      <a:gd name="T90" fmla="*/ 197 w 507"/>
                      <a:gd name="T91" fmla="*/ 59 h 514"/>
                      <a:gd name="T92" fmla="*/ 190 w 507"/>
                      <a:gd name="T93" fmla="*/ 64 h 514"/>
                      <a:gd name="T94" fmla="*/ 235 w 507"/>
                      <a:gd name="T95" fmla="*/ 81 h 514"/>
                      <a:gd name="T96" fmla="*/ 242 w 507"/>
                      <a:gd name="T97" fmla="*/ 74 h 514"/>
                      <a:gd name="T98" fmla="*/ 263 w 507"/>
                      <a:gd name="T99" fmla="*/ 76 h 514"/>
                      <a:gd name="T100" fmla="*/ 341 w 507"/>
                      <a:gd name="T101" fmla="*/ 145 h 514"/>
                      <a:gd name="T102" fmla="*/ 365 w 507"/>
                      <a:gd name="T103" fmla="*/ 116 h 514"/>
                      <a:gd name="T104" fmla="*/ 379 w 507"/>
                      <a:gd name="T105" fmla="*/ 126 h 514"/>
                      <a:gd name="T106" fmla="*/ 379 w 507"/>
                      <a:gd name="T107" fmla="*/ 119 h 514"/>
                      <a:gd name="T108" fmla="*/ 388 w 507"/>
                      <a:gd name="T109" fmla="*/ 116 h 514"/>
                      <a:gd name="T110" fmla="*/ 405 w 507"/>
                      <a:gd name="T111" fmla="*/ 109 h 514"/>
                      <a:gd name="T112" fmla="*/ 436 w 507"/>
                      <a:gd name="T113" fmla="*/ 126 h 514"/>
                      <a:gd name="T114" fmla="*/ 438 w 507"/>
                      <a:gd name="T115" fmla="*/ 133 h 514"/>
                      <a:gd name="T116" fmla="*/ 448 w 507"/>
                      <a:gd name="T117" fmla="*/ 190 h 514"/>
                      <a:gd name="T118" fmla="*/ 464 w 507"/>
                      <a:gd name="T119" fmla="*/ 223 h 514"/>
                      <a:gd name="T120" fmla="*/ 488 w 507"/>
                      <a:gd name="T121" fmla="*/ 230 h 514"/>
                      <a:gd name="T122" fmla="*/ 502 w 507"/>
                      <a:gd name="T123" fmla="*/ 244 h 5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507" h="514">
                        <a:moveTo>
                          <a:pt x="502" y="244"/>
                        </a:moveTo>
                        <a:lnTo>
                          <a:pt x="502" y="244"/>
                        </a:lnTo>
                        <a:lnTo>
                          <a:pt x="504" y="244"/>
                        </a:lnTo>
                        <a:lnTo>
                          <a:pt x="507" y="246"/>
                        </a:lnTo>
                        <a:lnTo>
                          <a:pt x="490" y="289"/>
                        </a:lnTo>
                        <a:lnTo>
                          <a:pt x="485" y="303"/>
                        </a:lnTo>
                        <a:lnTo>
                          <a:pt x="483" y="329"/>
                        </a:lnTo>
                        <a:lnTo>
                          <a:pt x="481" y="334"/>
                        </a:lnTo>
                        <a:lnTo>
                          <a:pt x="478" y="339"/>
                        </a:lnTo>
                        <a:lnTo>
                          <a:pt x="469" y="360"/>
                        </a:lnTo>
                        <a:lnTo>
                          <a:pt x="459" y="374"/>
                        </a:lnTo>
                        <a:lnTo>
                          <a:pt x="455" y="374"/>
                        </a:lnTo>
                        <a:lnTo>
                          <a:pt x="433" y="376"/>
                        </a:lnTo>
                        <a:lnTo>
                          <a:pt x="424" y="381"/>
                        </a:lnTo>
                        <a:lnTo>
                          <a:pt x="422" y="381"/>
                        </a:lnTo>
                        <a:lnTo>
                          <a:pt x="422" y="381"/>
                        </a:lnTo>
                        <a:lnTo>
                          <a:pt x="410" y="381"/>
                        </a:lnTo>
                        <a:lnTo>
                          <a:pt x="400" y="386"/>
                        </a:lnTo>
                        <a:lnTo>
                          <a:pt x="398" y="386"/>
                        </a:lnTo>
                        <a:lnTo>
                          <a:pt x="398" y="384"/>
                        </a:lnTo>
                        <a:lnTo>
                          <a:pt x="396" y="384"/>
                        </a:lnTo>
                        <a:lnTo>
                          <a:pt x="393" y="381"/>
                        </a:lnTo>
                        <a:lnTo>
                          <a:pt x="393" y="381"/>
                        </a:lnTo>
                        <a:lnTo>
                          <a:pt x="391" y="381"/>
                        </a:lnTo>
                        <a:lnTo>
                          <a:pt x="391" y="384"/>
                        </a:lnTo>
                        <a:lnTo>
                          <a:pt x="388" y="386"/>
                        </a:lnTo>
                        <a:lnTo>
                          <a:pt x="388" y="386"/>
                        </a:lnTo>
                        <a:lnTo>
                          <a:pt x="388" y="388"/>
                        </a:lnTo>
                        <a:lnTo>
                          <a:pt x="388" y="391"/>
                        </a:lnTo>
                        <a:lnTo>
                          <a:pt x="388" y="395"/>
                        </a:lnTo>
                        <a:lnTo>
                          <a:pt x="391" y="405"/>
                        </a:lnTo>
                        <a:lnTo>
                          <a:pt x="391" y="410"/>
                        </a:lnTo>
                        <a:lnTo>
                          <a:pt x="388" y="419"/>
                        </a:lnTo>
                        <a:lnTo>
                          <a:pt x="388" y="424"/>
                        </a:lnTo>
                        <a:lnTo>
                          <a:pt x="388" y="426"/>
                        </a:lnTo>
                        <a:lnTo>
                          <a:pt x="388" y="428"/>
                        </a:lnTo>
                        <a:lnTo>
                          <a:pt x="388" y="428"/>
                        </a:lnTo>
                        <a:lnTo>
                          <a:pt x="388" y="438"/>
                        </a:lnTo>
                        <a:lnTo>
                          <a:pt x="391" y="438"/>
                        </a:lnTo>
                        <a:lnTo>
                          <a:pt x="391" y="440"/>
                        </a:lnTo>
                        <a:lnTo>
                          <a:pt x="391" y="440"/>
                        </a:lnTo>
                        <a:lnTo>
                          <a:pt x="388" y="445"/>
                        </a:lnTo>
                        <a:lnTo>
                          <a:pt x="388" y="445"/>
                        </a:lnTo>
                        <a:lnTo>
                          <a:pt x="388" y="447"/>
                        </a:lnTo>
                        <a:lnTo>
                          <a:pt x="386" y="450"/>
                        </a:lnTo>
                        <a:lnTo>
                          <a:pt x="386" y="452"/>
                        </a:lnTo>
                        <a:lnTo>
                          <a:pt x="384" y="452"/>
                        </a:lnTo>
                        <a:lnTo>
                          <a:pt x="384" y="457"/>
                        </a:lnTo>
                        <a:lnTo>
                          <a:pt x="384" y="462"/>
                        </a:lnTo>
                        <a:lnTo>
                          <a:pt x="384" y="464"/>
                        </a:lnTo>
                        <a:lnTo>
                          <a:pt x="384" y="464"/>
                        </a:lnTo>
                        <a:lnTo>
                          <a:pt x="384" y="466"/>
                        </a:lnTo>
                        <a:lnTo>
                          <a:pt x="381" y="469"/>
                        </a:lnTo>
                        <a:lnTo>
                          <a:pt x="381" y="469"/>
                        </a:lnTo>
                        <a:lnTo>
                          <a:pt x="381" y="471"/>
                        </a:lnTo>
                        <a:lnTo>
                          <a:pt x="381" y="471"/>
                        </a:lnTo>
                        <a:lnTo>
                          <a:pt x="384" y="473"/>
                        </a:lnTo>
                        <a:lnTo>
                          <a:pt x="384" y="473"/>
                        </a:lnTo>
                        <a:lnTo>
                          <a:pt x="386" y="473"/>
                        </a:lnTo>
                        <a:lnTo>
                          <a:pt x="386" y="473"/>
                        </a:lnTo>
                        <a:lnTo>
                          <a:pt x="386" y="476"/>
                        </a:lnTo>
                        <a:lnTo>
                          <a:pt x="388" y="481"/>
                        </a:lnTo>
                        <a:lnTo>
                          <a:pt x="388" y="483"/>
                        </a:lnTo>
                        <a:lnTo>
                          <a:pt x="388" y="483"/>
                        </a:lnTo>
                        <a:lnTo>
                          <a:pt x="386" y="485"/>
                        </a:lnTo>
                        <a:lnTo>
                          <a:pt x="384" y="483"/>
                        </a:lnTo>
                        <a:lnTo>
                          <a:pt x="384" y="483"/>
                        </a:lnTo>
                        <a:lnTo>
                          <a:pt x="381" y="483"/>
                        </a:lnTo>
                        <a:lnTo>
                          <a:pt x="379" y="481"/>
                        </a:lnTo>
                        <a:lnTo>
                          <a:pt x="379" y="478"/>
                        </a:lnTo>
                        <a:lnTo>
                          <a:pt x="379" y="478"/>
                        </a:lnTo>
                        <a:lnTo>
                          <a:pt x="377" y="478"/>
                        </a:lnTo>
                        <a:lnTo>
                          <a:pt x="374" y="476"/>
                        </a:lnTo>
                        <a:lnTo>
                          <a:pt x="374" y="476"/>
                        </a:lnTo>
                        <a:lnTo>
                          <a:pt x="372" y="473"/>
                        </a:lnTo>
                        <a:lnTo>
                          <a:pt x="369" y="473"/>
                        </a:lnTo>
                        <a:lnTo>
                          <a:pt x="367" y="473"/>
                        </a:lnTo>
                        <a:lnTo>
                          <a:pt x="355" y="473"/>
                        </a:lnTo>
                        <a:lnTo>
                          <a:pt x="353" y="473"/>
                        </a:lnTo>
                        <a:lnTo>
                          <a:pt x="346" y="478"/>
                        </a:lnTo>
                        <a:lnTo>
                          <a:pt x="341" y="483"/>
                        </a:lnTo>
                        <a:lnTo>
                          <a:pt x="341" y="483"/>
                        </a:lnTo>
                        <a:lnTo>
                          <a:pt x="339" y="485"/>
                        </a:lnTo>
                        <a:lnTo>
                          <a:pt x="339" y="488"/>
                        </a:lnTo>
                        <a:lnTo>
                          <a:pt x="336" y="490"/>
                        </a:lnTo>
                        <a:lnTo>
                          <a:pt x="303" y="499"/>
                        </a:lnTo>
                        <a:lnTo>
                          <a:pt x="301" y="499"/>
                        </a:lnTo>
                        <a:lnTo>
                          <a:pt x="299" y="499"/>
                        </a:lnTo>
                        <a:lnTo>
                          <a:pt x="296" y="499"/>
                        </a:lnTo>
                        <a:lnTo>
                          <a:pt x="294" y="499"/>
                        </a:lnTo>
                        <a:lnTo>
                          <a:pt x="291" y="499"/>
                        </a:lnTo>
                        <a:lnTo>
                          <a:pt x="289" y="497"/>
                        </a:lnTo>
                        <a:lnTo>
                          <a:pt x="284" y="492"/>
                        </a:lnTo>
                        <a:lnTo>
                          <a:pt x="277" y="488"/>
                        </a:lnTo>
                        <a:lnTo>
                          <a:pt x="275" y="485"/>
                        </a:lnTo>
                        <a:lnTo>
                          <a:pt x="275" y="485"/>
                        </a:lnTo>
                        <a:lnTo>
                          <a:pt x="275" y="483"/>
                        </a:lnTo>
                        <a:lnTo>
                          <a:pt x="275" y="481"/>
                        </a:lnTo>
                        <a:lnTo>
                          <a:pt x="275" y="478"/>
                        </a:lnTo>
                        <a:lnTo>
                          <a:pt x="277" y="471"/>
                        </a:lnTo>
                        <a:lnTo>
                          <a:pt x="277" y="471"/>
                        </a:lnTo>
                        <a:lnTo>
                          <a:pt x="275" y="471"/>
                        </a:lnTo>
                        <a:lnTo>
                          <a:pt x="275" y="471"/>
                        </a:lnTo>
                        <a:lnTo>
                          <a:pt x="268" y="476"/>
                        </a:lnTo>
                        <a:lnTo>
                          <a:pt x="268" y="476"/>
                        </a:lnTo>
                        <a:lnTo>
                          <a:pt x="263" y="476"/>
                        </a:lnTo>
                        <a:lnTo>
                          <a:pt x="263" y="476"/>
                        </a:lnTo>
                        <a:lnTo>
                          <a:pt x="261" y="476"/>
                        </a:lnTo>
                        <a:lnTo>
                          <a:pt x="261" y="473"/>
                        </a:lnTo>
                        <a:lnTo>
                          <a:pt x="254" y="469"/>
                        </a:lnTo>
                        <a:lnTo>
                          <a:pt x="254" y="469"/>
                        </a:lnTo>
                        <a:lnTo>
                          <a:pt x="254" y="466"/>
                        </a:lnTo>
                        <a:lnTo>
                          <a:pt x="251" y="466"/>
                        </a:lnTo>
                        <a:lnTo>
                          <a:pt x="249" y="469"/>
                        </a:lnTo>
                        <a:lnTo>
                          <a:pt x="242" y="469"/>
                        </a:lnTo>
                        <a:lnTo>
                          <a:pt x="242" y="471"/>
                        </a:lnTo>
                        <a:lnTo>
                          <a:pt x="242" y="471"/>
                        </a:lnTo>
                        <a:lnTo>
                          <a:pt x="239" y="476"/>
                        </a:lnTo>
                        <a:lnTo>
                          <a:pt x="239" y="478"/>
                        </a:lnTo>
                        <a:lnTo>
                          <a:pt x="237" y="478"/>
                        </a:lnTo>
                        <a:lnTo>
                          <a:pt x="235" y="478"/>
                        </a:lnTo>
                        <a:lnTo>
                          <a:pt x="235" y="476"/>
                        </a:lnTo>
                        <a:lnTo>
                          <a:pt x="232" y="476"/>
                        </a:lnTo>
                        <a:lnTo>
                          <a:pt x="230" y="473"/>
                        </a:lnTo>
                        <a:lnTo>
                          <a:pt x="230" y="473"/>
                        </a:lnTo>
                        <a:lnTo>
                          <a:pt x="223" y="471"/>
                        </a:lnTo>
                        <a:lnTo>
                          <a:pt x="220" y="473"/>
                        </a:lnTo>
                        <a:lnTo>
                          <a:pt x="218" y="473"/>
                        </a:lnTo>
                        <a:lnTo>
                          <a:pt x="199" y="495"/>
                        </a:lnTo>
                        <a:lnTo>
                          <a:pt x="199" y="497"/>
                        </a:lnTo>
                        <a:lnTo>
                          <a:pt x="199" y="499"/>
                        </a:lnTo>
                        <a:lnTo>
                          <a:pt x="197" y="504"/>
                        </a:lnTo>
                        <a:lnTo>
                          <a:pt x="194" y="511"/>
                        </a:lnTo>
                        <a:lnTo>
                          <a:pt x="194" y="514"/>
                        </a:lnTo>
                        <a:lnTo>
                          <a:pt x="192" y="511"/>
                        </a:lnTo>
                        <a:lnTo>
                          <a:pt x="190" y="507"/>
                        </a:lnTo>
                        <a:lnTo>
                          <a:pt x="185" y="497"/>
                        </a:lnTo>
                        <a:lnTo>
                          <a:pt x="180" y="492"/>
                        </a:lnTo>
                        <a:lnTo>
                          <a:pt x="166" y="483"/>
                        </a:lnTo>
                        <a:lnTo>
                          <a:pt x="154" y="469"/>
                        </a:lnTo>
                        <a:lnTo>
                          <a:pt x="154" y="469"/>
                        </a:lnTo>
                        <a:lnTo>
                          <a:pt x="157" y="462"/>
                        </a:lnTo>
                        <a:lnTo>
                          <a:pt x="157" y="459"/>
                        </a:lnTo>
                        <a:lnTo>
                          <a:pt x="157" y="459"/>
                        </a:lnTo>
                        <a:lnTo>
                          <a:pt x="154" y="459"/>
                        </a:lnTo>
                        <a:lnTo>
                          <a:pt x="154" y="459"/>
                        </a:lnTo>
                        <a:lnTo>
                          <a:pt x="152" y="457"/>
                        </a:lnTo>
                        <a:lnTo>
                          <a:pt x="152" y="455"/>
                        </a:lnTo>
                        <a:lnTo>
                          <a:pt x="152" y="455"/>
                        </a:lnTo>
                        <a:lnTo>
                          <a:pt x="154" y="450"/>
                        </a:lnTo>
                        <a:lnTo>
                          <a:pt x="157" y="447"/>
                        </a:lnTo>
                        <a:lnTo>
                          <a:pt x="161" y="431"/>
                        </a:lnTo>
                        <a:lnTo>
                          <a:pt x="161" y="426"/>
                        </a:lnTo>
                        <a:lnTo>
                          <a:pt x="161" y="426"/>
                        </a:lnTo>
                        <a:lnTo>
                          <a:pt x="161" y="421"/>
                        </a:lnTo>
                        <a:lnTo>
                          <a:pt x="159" y="417"/>
                        </a:lnTo>
                        <a:lnTo>
                          <a:pt x="159" y="417"/>
                        </a:lnTo>
                        <a:lnTo>
                          <a:pt x="161" y="414"/>
                        </a:lnTo>
                        <a:lnTo>
                          <a:pt x="164" y="412"/>
                        </a:lnTo>
                        <a:lnTo>
                          <a:pt x="166" y="407"/>
                        </a:lnTo>
                        <a:lnTo>
                          <a:pt x="166" y="405"/>
                        </a:lnTo>
                        <a:lnTo>
                          <a:pt x="166" y="402"/>
                        </a:lnTo>
                        <a:lnTo>
                          <a:pt x="168" y="402"/>
                        </a:lnTo>
                        <a:lnTo>
                          <a:pt x="171" y="400"/>
                        </a:lnTo>
                        <a:lnTo>
                          <a:pt x="173" y="398"/>
                        </a:lnTo>
                        <a:lnTo>
                          <a:pt x="173" y="398"/>
                        </a:lnTo>
                        <a:lnTo>
                          <a:pt x="175" y="393"/>
                        </a:lnTo>
                        <a:lnTo>
                          <a:pt x="178" y="391"/>
                        </a:lnTo>
                        <a:lnTo>
                          <a:pt x="180" y="388"/>
                        </a:lnTo>
                        <a:lnTo>
                          <a:pt x="183" y="381"/>
                        </a:lnTo>
                        <a:lnTo>
                          <a:pt x="183" y="376"/>
                        </a:lnTo>
                        <a:lnTo>
                          <a:pt x="183" y="376"/>
                        </a:lnTo>
                        <a:lnTo>
                          <a:pt x="183" y="374"/>
                        </a:lnTo>
                        <a:lnTo>
                          <a:pt x="183" y="372"/>
                        </a:lnTo>
                        <a:lnTo>
                          <a:pt x="183" y="369"/>
                        </a:lnTo>
                        <a:lnTo>
                          <a:pt x="180" y="369"/>
                        </a:lnTo>
                        <a:lnTo>
                          <a:pt x="180" y="367"/>
                        </a:lnTo>
                        <a:lnTo>
                          <a:pt x="178" y="365"/>
                        </a:lnTo>
                        <a:lnTo>
                          <a:pt x="173" y="362"/>
                        </a:lnTo>
                        <a:lnTo>
                          <a:pt x="173" y="362"/>
                        </a:lnTo>
                        <a:lnTo>
                          <a:pt x="171" y="360"/>
                        </a:lnTo>
                        <a:lnTo>
                          <a:pt x="168" y="358"/>
                        </a:lnTo>
                        <a:lnTo>
                          <a:pt x="168" y="358"/>
                        </a:lnTo>
                        <a:lnTo>
                          <a:pt x="166" y="358"/>
                        </a:lnTo>
                        <a:lnTo>
                          <a:pt x="159" y="353"/>
                        </a:lnTo>
                        <a:lnTo>
                          <a:pt x="157" y="353"/>
                        </a:lnTo>
                        <a:lnTo>
                          <a:pt x="157" y="353"/>
                        </a:lnTo>
                        <a:lnTo>
                          <a:pt x="154" y="350"/>
                        </a:lnTo>
                        <a:lnTo>
                          <a:pt x="154" y="348"/>
                        </a:lnTo>
                        <a:lnTo>
                          <a:pt x="152" y="346"/>
                        </a:lnTo>
                        <a:lnTo>
                          <a:pt x="149" y="329"/>
                        </a:lnTo>
                        <a:lnTo>
                          <a:pt x="147" y="329"/>
                        </a:lnTo>
                        <a:lnTo>
                          <a:pt x="145" y="327"/>
                        </a:lnTo>
                        <a:lnTo>
                          <a:pt x="145" y="324"/>
                        </a:lnTo>
                        <a:lnTo>
                          <a:pt x="142" y="324"/>
                        </a:lnTo>
                        <a:lnTo>
                          <a:pt x="140" y="324"/>
                        </a:lnTo>
                        <a:lnTo>
                          <a:pt x="140" y="322"/>
                        </a:lnTo>
                        <a:lnTo>
                          <a:pt x="135" y="324"/>
                        </a:lnTo>
                        <a:lnTo>
                          <a:pt x="133" y="324"/>
                        </a:lnTo>
                        <a:lnTo>
                          <a:pt x="133" y="324"/>
                        </a:lnTo>
                        <a:lnTo>
                          <a:pt x="131" y="322"/>
                        </a:lnTo>
                        <a:lnTo>
                          <a:pt x="123" y="317"/>
                        </a:lnTo>
                        <a:lnTo>
                          <a:pt x="121" y="315"/>
                        </a:lnTo>
                        <a:lnTo>
                          <a:pt x="119" y="313"/>
                        </a:lnTo>
                        <a:lnTo>
                          <a:pt x="116" y="313"/>
                        </a:lnTo>
                        <a:lnTo>
                          <a:pt x="114" y="313"/>
                        </a:lnTo>
                        <a:lnTo>
                          <a:pt x="114" y="313"/>
                        </a:lnTo>
                        <a:lnTo>
                          <a:pt x="112" y="313"/>
                        </a:lnTo>
                        <a:lnTo>
                          <a:pt x="109" y="313"/>
                        </a:lnTo>
                        <a:lnTo>
                          <a:pt x="107" y="310"/>
                        </a:lnTo>
                        <a:lnTo>
                          <a:pt x="102" y="303"/>
                        </a:lnTo>
                        <a:lnTo>
                          <a:pt x="100" y="301"/>
                        </a:lnTo>
                        <a:lnTo>
                          <a:pt x="97" y="301"/>
                        </a:lnTo>
                        <a:lnTo>
                          <a:pt x="95" y="298"/>
                        </a:lnTo>
                        <a:lnTo>
                          <a:pt x="93" y="296"/>
                        </a:lnTo>
                        <a:lnTo>
                          <a:pt x="90" y="296"/>
                        </a:lnTo>
                        <a:lnTo>
                          <a:pt x="88" y="294"/>
                        </a:lnTo>
                        <a:lnTo>
                          <a:pt x="86" y="291"/>
                        </a:lnTo>
                        <a:lnTo>
                          <a:pt x="86" y="291"/>
                        </a:lnTo>
                        <a:lnTo>
                          <a:pt x="86" y="289"/>
                        </a:lnTo>
                        <a:lnTo>
                          <a:pt x="86" y="287"/>
                        </a:lnTo>
                        <a:lnTo>
                          <a:pt x="86" y="287"/>
                        </a:lnTo>
                        <a:lnTo>
                          <a:pt x="86" y="282"/>
                        </a:lnTo>
                        <a:lnTo>
                          <a:pt x="86" y="279"/>
                        </a:lnTo>
                        <a:lnTo>
                          <a:pt x="86" y="277"/>
                        </a:lnTo>
                        <a:lnTo>
                          <a:pt x="74" y="261"/>
                        </a:lnTo>
                        <a:lnTo>
                          <a:pt x="74" y="258"/>
                        </a:lnTo>
                        <a:lnTo>
                          <a:pt x="69" y="256"/>
                        </a:lnTo>
                        <a:lnTo>
                          <a:pt x="64" y="253"/>
                        </a:lnTo>
                        <a:lnTo>
                          <a:pt x="62" y="251"/>
                        </a:lnTo>
                        <a:lnTo>
                          <a:pt x="60" y="251"/>
                        </a:lnTo>
                        <a:lnTo>
                          <a:pt x="55" y="251"/>
                        </a:lnTo>
                        <a:lnTo>
                          <a:pt x="52" y="251"/>
                        </a:lnTo>
                        <a:lnTo>
                          <a:pt x="50" y="249"/>
                        </a:lnTo>
                        <a:lnTo>
                          <a:pt x="50" y="249"/>
                        </a:lnTo>
                        <a:lnTo>
                          <a:pt x="48" y="246"/>
                        </a:lnTo>
                        <a:lnTo>
                          <a:pt x="48" y="246"/>
                        </a:lnTo>
                        <a:lnTo>
                          <a:pt x="48" y="244"/>
                        </a:lnTo>
                        <a:lnTo>
                          <a:pt x="50" y="244"/>
                        </a:lnTo>
                        <a:lnTo>
                          <a:pt x="50" y="242"/>
                        </a:lnTo>
                        <a:lnTo>
                          <a:pt x="52" y="234"/>
                        </a:lnTo>
                        <a:lnTo>
                          <a:pt x="52" y="234"/>
                        </a:lnTo>
                        <a:lnTo>
                          <a:pt x="55" y="232"/>
                        </a:lnTo>
                        <a:lnTo>
                          <a:pt x="57" y="230"/>
                        </a:lnTo>
                        <a:lnTo>
                          <a:pt x="57" y="230"/>
                        </a:lnTo>
                        <a:lnTo>
                          <a:pt x="60" y="227"/>
                        </a:lnTo>
                        <a:lnTo>
                          <a:pt x="60" y="225"/>
                        </a:lnTo>
                        <a:lnTo>
                          <a:pt x="60" y="223"/>
                        </a:lnTo>
                        <a:lnTo>
                          <a:pt x="57" y="220"/>
                        </a:lnTo>
                        <a:lnTo>
                          <a:pt x="57" y="220"/>
                        </a:lnTo>
                        <a:lnTo>
                          <a:pt x="55" y="220"/>
                        </a:lnTo>
                        <a:lnTo>
                          <a:pt x="50" y="220"/>
                        </a:lnTo>
                        <a:lnTo>
                          <a:pt x="48" y="220"/>
                        </a:lnTo>
                        <a:lnTo>
                          <a:pt x="41" y="218"/>
                        </a:lnTo>
                        <a:lnTo>
                          <a:pt x="38" y="216"/>
                        </a:lnTo>
                        <a:lnTo>
                          <a:pt x="34" y="211"/>
                        </a:lnTo>
                        <a:lnTo>
                          <a:pt x="34" y="211"/>
                        </a:lnTo>
                        <a:lnTo>
                          <a:pt x="31" y="208"/>
                        </a:lnTo>
                        <a:lnTo>
                          <a:pt x="26" y="206"/>
                        </a:lnTo>
                        <a:lnTo>
                          <a:pt x="24" y="206"/>
                        </a:lnTo>
                        <a:lnTo>
                          <a:pt x="22" y="204"/>
                        </a:lnTo>
                        <a:lnTo>
                          <a:pt x="19" y="199"/>
                        </a:lnTo>
                        <a:lnTo>
                          <a:pt x="17" y="197"/>
                        </a:lnTo>
                        <a:lnTo>
                          <a:pt x="17" y="194"/>
                        </a:lnTo>
                        <a:lnTo>
                          <a:pt x="15" y="182"/>
                        </a:lnTo>
                        <a:lnTo>
                          <a:pt x="12" y="180"/>
                        </a:lnTo>
                        <a:lnTo>
                          <a:pt x="12" y="178"/>
                        </a:lnTo>
                        <a:lnTo>
                          <a:pt x="12" y="175"/>
                        </a:lnTo>
                        <a:lnTo>
                          <a:pt x="10" y="175"/>
                        </a:lnTo>
                        <a:lnTo>
                          <a:pt x="10" y="173"/>
                        </a:lnTo>
                        <a:lnTo>
                          <a:pt x="10" y="173"/>
                        </a:lnTo>
                        <a:lnTo>
                          <a:pt x="10" y="171"/>
                        </a:lnTo>
                        <a:lnTo>
                          <a:pt x="10" y="171"/>
                        </a:lnTo>
                        <a:lnTo>
                          <a:pt x="10" y="168"/>
                        </a:lnTo>
                        <a:lnTo>
                          <a:pt x="7" y="168"/>
                        </a:lnTo>
                        <a:lnTo>
                          <a:pt x="7" y="168"/>
                        </a:lnTo>
                        <a:lnTo>
                          <a:pt x="0" y="163"/>
                        </a:lnTo>
                        <a:lnTo>
                          <a:pt x="5" y="156"/>
                        </a:lnTo>
                        <a:lnTo>
                          <a:pt x="5" y="152"/>
                        </a:lnTo>
                        <a:lnTo>
                          <a:pt x="5" y="152"/>
                        </a:lnTo>
                        <a:lnTo>
                          <a:pt x="5" y="147"/>
                        </a:lnTo>
                        <a:lnTo>
                          <a:pt x="3" y="145"/>
                        </a:lnTo>
                        <a:lnTo>
                          <a:pt x="3" y="140"/>
                        </a:lnTo>
                        <a:lnTo>
                          <a:pt x="3" y="135"/>
                        </a:lnTo>
                        <a:lnTo>
                          <a:pt x="3" y="128"/>
                        </a:lnTo>
                        <a:lnTo>
                          <a:pt x="34" y="121"/>
                        </a:lnTo>
                        <a:lnTo>
                          <a:pt x="41" y="119"/>
                        </a:lnTo>
                        <a:lnTo>
                          <a:pt x="50" y="109"/>
                        </a:lnTo>
                        <a:lnTo>
                          <a:pt x="52" y="104"/>
                        </a:lnTo>
                        <a:lnTo>
                          <a:pt x="55" y="100"/>
                        </a:lnTo>
                        <a:lnTo>
                          <a:pt x="55" y="88"/>
                        </a:lnTo>
                        <a:lnTo>
                          <a:pt x="60" y="76"/>
                        </a:lnTo>
                        <a:lnTo>
                          <a:pt x="60" y="69"/>
                        </a:lnTo>
                        <a:lnTo>
                          <a:pt x="57" y="62"/>
                        </a:lnTo>
                        <a:lnTo>
                          <a:pt x="50" y="52"/>
                        </a:lnTo>
                        <a:lnTo>
                          <a:pt x="48" y="45"/>
                        </a:lnTo>
                        <a:lnTo>
                          <a:pt x="50" y="38"/>
                        </a:lnTo>
                        <a:lnTo>
                          <a:pt x="52" y="33"/>
                        </a:lnTo>
                        <a:lnTo>
                          <a:pt x="55" y="29"/>
                        </a:lnTo>
                        <a:lnTo>
                          <a:pt x="57" y="26"/>
                        </a:lnTo>
                        <a:lnTo>
                          <a:pt x="107" y="19"/>
                        </a:lnTo>
                        <a:lnTo>
                          <a:pt x="112" y="19"/>
                        </a:lnTo>
                        <a:lnTo>
                          <a:pt x="135" y="3"/>
                        </a:lnTo>
                        <a:lnTo>
                          <a:pt x="138" y="0"/>
                        </a:lnTo>
                        <a:lnTo>
                          <a:pt x="140" y="0"/>
                        </a:lnTo>
                        <a:lnTo>
                          <a:pt x="147" y="7"/>
                        </a:lnTo>
                        <a:lnTo>
                          <a:pt x="152" y="12"/>
                        </a:lnTo>
                        <a:lnTo>
                          <a:pt x="152" y="12"/>
                        </a:lnTo>
                        <a:lnTo>
                          <a:pt x="164" y="12"/>
                        </a:lnTo>
                        <a:lnTo>
                          <a:pt x="171" y="14"/>
                        </a:lnTo>
                        <a:lnTo>
                          <a:pt x="173" y="17"/>
                        </a:lnTo>
                        <a:lnTo>
                          <a:pt x="178" y="19"/>
                        </a:lnTo>
                        <a:lnTo>
                          <a:pt x="183" y="24"/>
                        </a:lnTo>
                        <a:lnTo>
                          <a:pt x="197" y="36"/>
                        </a:lnTo>
                        <a:lnTo>
                          <a:pt x="199" y="38"/>
                        </a:lnTo>
                        <a:lnTo>
                          <a:pt x="199" y="40"/>
                        </a:lnTo>
                        <a:lnTo>
                          <a:pt x="199" y="45"/>
                        </a:lnTo>
                        <a:lnTo>
                          <a:pt x="199" y="50"/>
                        </a:lnTo>
                        <a:lnTo>
                          <a:pt x="199" y="52"/>
                        </a:lnTo>
                        <a:lnTo>
                          <a:pt x="199" y="55"/>
                        </a:lnTo>
                        <a:lnTo>
                          <a:pt x="197" y="57"/>
                        </a:lnTo>
                        <a:lnTo>
                          <a:pt x="197" y="59"/>
                        </a:lnTo>
                        <a:lnTo>
                          <a:pt x="194" y="62"/>
                        </a:lnTo>
                        <a:lnTo>
                          <a:pt x="194" y="62"/>
                        </a:lnTo>
                        <a:lnTo>
                          <a:pt x="194" y="62"/>
                        </a:lnTo>
                        <a:lnTo>
                          <a:pt x="192" y="62"/>
                        </a:lnTo>
                        <a:lnTo>
                          <a:pt x="192" y="62"/>
                        </a:lnTo>
                        <a:lnTo>
                          <a:pt x="190" y="64"/>
                        </a:lnTo>
                        <a:lnTo>
                          <a:pt x="190" y="64"/>
                        </a:lnTo>
                        <a:lnTo>
                          <a:pt x="190" y="66"/>
                        </a:lnTo>
                        <a:lnTo>
                          <a:pt x="190" y="69"/>
                        </a:lnTo>
                        <a:lnTo>
                          <a:pt x="192" y="69"/>
                        </a:lnTo>
                        <a:lnTo>
                          <a:pt x="228" y="78"/>
                        </a:lnTo>
                        <a:lnTo>
                          <a:pt x="232" y="81"/>
                        </a:lnTo>
                        <a:lnTo>
                          <a:pt x="232" y="81"/>
                        </a:lnTo>
                        <a:lnTo>
                          <a:pt x="235" y="81"/>
                        </a:lnTo>
                        <a:lnTo>
                          <a:pt x="237" y="81"/>
                        </a:lnTo>
                        <a:lnTo>
                          <a:pt x="237" y="78"/>
                        </a:lnTo>
                        <a:lnTo>
                          <a:pt x="237" y="78"/>
                        </a:lnTo>
                        <a:lnTo>
                          <a:pt x="239" y="76"/>
                        </a:lnTo>
                        <a:lnTo>
                          <a:pt x="239" y="74"/>
                        </a:lnTo>
                        <a:lnTo>
                          <a:pt x="239" y="74"/>
                        </a:lnTo>
                        <a:lnTo>
                          <a:pt x="242" y="74"/>
                        </a:lnTo>
                        <a:lnTo>
                          <a:pt x="246" y="69"/>
                        </a:lnTo>
                        <a:lnTo>
                          <a:pt x="249" y="69"/>
                        </a:lnTo>
                        <a:lnTo>
                          <a:pt x="251" y="69"/>
                        </a:lnTo>
                        <a:lnTo>
                          <a:pt x="254" y="71"/>
                        </a:lnTo>
                        <a:lnTo>
                          <a:pt x="258" y="71"/>
                        </a:lnTo>
                        <a:lnTo>
                          <a:pt x="263" y="74"/>
                        </a:lnTo>
                        <a:lnTo>
                          <a:pt x="263" y="76"/>
                        </a:lnTo>
                        <a:lnTo>
                          <a:pt x="265" y="76"/>
                        </a:lnTo>
                        <a:lnTo>
                          <a:pt x="268" y="81"/>
                        </a:lnTo>
                        <a:lnTo>
                          <a:pt x="272" y="93"/>
                        </a:lnTo>
                        <a:lnTo>
                          <a:pt x="277" y="97"/>
                        </a:lnTo>
                        <a:lnTo>
                          <a:pt x="317" y="130"/>
                        </a:lnTo>
                        <a:lnTo>
                          <a:pt x="336" y="142"/>
                        </a:lnTo>
                        <a:lnTo>
                          <a:pt x="341" y="145"/>
                        </a:lnTo>
                        <a:lnTo>
                          <a:pt x="346" y="145"/>
                        </a:lnTo>
                        <a:lnTo>
                          <a:pt x="348" y="142"/>
                        </a:lnTo>
                        <a:lnTo>
                          <a:pt x="348" y="142"/>
                        </a:lnTo>
                        <a:lnTo>
                          <a:pt x="353" y="135"/>
                        </a:lnTo>
                        <a:lnTo>
                          <a:pt x="360" y="126"/>
                        </a:lnTo>
                        <a:lnTo>
                          <a:pt x="365" y="116"/>
                        </a:lnTo>
                        <a:lnTo>
                          <a:pt x="365" y="116"/>
                        </a:lnTo>
                        <a:lnTo>
                          <a:pt x="367" y="116"/>
                        </a:lnTo>
                        <a:lnTo>
                          <a:pt x="367" y="116"/>
                        </a:lnTo>
                        <a:lnTo>
                          <a:pt x="369" y="116"/>
                        </a:lnTo>
                        <a:lnTo>
                          <a:pt x="369" y="116"/>
                        </a:lnTo>
                        <a:lnTo>
                          <a:pt x="372" y="119"/>
                        </a:lnTo>
                        <a:lnTo>
                          <a:pt x="374" y="121"/>
                        </a:lnTo>
                        <a:lnTo>
                          <a:pt x="379" y="126"/>
                        </a:lnTo>
                        <a:lnTo>
                          <a:pt x="381" y="126"/>
                        </a:lnTo>
                        <a:lnTo>
                          <a:pt x="381" y="126"/>
                        </a:lnTo>
                        <a:lnTo>
                          <a:pt x="384" y="126"/>
                        </a:lnTo>
                        <a:lnTo>
                          <a:pt x="384" y="123"/>
                        </a:lnTo>
                        <a:lnTo>
                          <a:pt x="381" y="121"/>
                        </a:lnTo>
                        <a:lnTo>
                          <a:pt x="381" y="121"/>
                        </a:lnTo>
                        <a:lnTo>
                          <a:pt x="379" y="119"/>
                        </a:lnTo>
                        <a:lnTo>
                          <a:pt x="377" y="116"/>
                        </a:lnTo>
                        <a:lnTo>
                          <a:pt x="377" y="116"/>
                        </a:lnTo>
                        <a:lnTo>
                          <a:pt x="377" y="114"/>
                        </a:lnTo>
                        <a:lnTo>
                          <a:pt x="379" y="114"/>
                        </a:lnTo>
                        <a:lnTo>
                          <a:pt x="381" y="114"/>
                        </a:lnTo>
                        <a:lnTo>
                          <a:pt x="388" y="116"/>
                        </a:lnTo>
                        <a:lnTo>
                          <a:pt x="388" y="116"/>
                        </a:lnTo>
                        <a:lnTo>
                          <a:pt x="391" y="114"/>
                        </a:lnTo>
                        <a:lnTo>
                          <a:pt x="388" y="114"/>
                        </a:lnTo>
                        <a:lnTo>
                          <a:pt x="388" y="111"/>
                        </a:lnTo>
                        <a:lnTo>
                          <a:pt x="391" y="111"/>
                        </a:lnTo>
                        <a:lnTo>
                          <a:pt x="393" y="109"/>
                        </a:lnTo>
                        <a:lnTo>
                          <a:pt x="403" y="109"/>
                        </a:lnTo>
                        <a:lnTo>
                          <a:pt x="405" y="109"/>
                        </a:lnTo>
                        <a:lnTo>
                          <a:pt x="407" y="111"/>
                        </a:lnTo>
                        <a:lnTo>
                          <a:pt x="414" y="114"/>
                        </a:lnTo>
                        <a:lnTo>
                          <a:pt x="424" y="114"/>
                        </a:lnTo>
                        <a:lnTo>
                          <a:pt x="426" y="114"/>
                        </a:lnTo>
                        <a:lnTo>
                          <a:pt x="429" y="114"/>
                        </a:lnTo>
                        <a:lnTo>
                          <a:pt x="436" y="121"/>
                        </a:lnTo>
                        <a:lnTo>
                          <a:pt x="436" y="126"/>
                        </a:lnTo>
                        <a:lnTo>
                          <a:pt x="431" y="128"/>
                        </a:lnTo>
                        <a:lnTo>
                          <a:pt x="431" y="130"/>
                        </a:lnTo>
                        <a:lnTo>
                          <a:pt x="431" y="130"/>
                        </a:lnTo>
                        <a:lnTo>
                          <a:pt x="433" y="130"/>
                        </a:lnTo>
                        <a:lnTo>
                          <a:pt x="433" y="133"/>
                        </a:lnTo>
                        <a:lnTo>
                          <a:pt x="436" y="133"/>
                        </a:lnTo>
                        <a:lnTo>
                          <a:pt x="438" y="133"/>
                        </a:lnTo>
                        <a:lnTo>
                          <a:pt x="438" y="135"/>
                        </a:lnTo>
                        <a:lnTo>
                          <a:pt x="440" y="137"/>
                        </a:lnTo>
                        <a:lnTo>
                          <a:pt x="440" y="140"/>
                        </a:lnTo>
                        <a:lnTo>
                          <a:pt x="440" y="142"/>
                        </a:lnTo>
                        <a:lnTo>
                          <a:pt x="440" y="154"/>
                        </a:lnTo>
                        <a:lnTo>
                          <a:pt x="445" y="171"/>
                        </a:lnTo>
                        <a:lnTo>
                          <a:pt x="448" y="190"/>
                        </a:lnTo>
                        <a:lnTo>
                          <a:pt x="448" y="192"/>
                        </a:lnTo>
                        <a:lnTo>
                          <a:pt x="450" y="194"/>
                        </a:lnTo>
                        <a:lnTo>
                          <a:pt x="457" y="216"/>
                        </a:lnTo>
                        <a:lnTo>
                          <a:pt x="459" y="218"/>
                        </a:lnTo>
                        <a:lnTo>
                          <a:pt x="462" y="223"/>
                        </a:lnTo>
                        <a:lnTo>
                          <a:pt x="464" y="223"/>
                        </a:lnTo>
                        <a:lnTo>
                          <a:pt x="464" y="223"/>
                        </a:lnTo>
                        <a:lnTo>
                          <a:pt x="466" y="223"/>
                        </a:lnTo>
                        <a:lnTo>
                          <a:pt x="474" y="218"/>
                        </a:lnTo>
                        <a:lnTo>
                          <a:pt x="474" y="218"/>
                        </a:lnTo>
                        <a:lnTo>
                          <a:pt x="478" y="218"/>
                        </a:lnTo>
                        <a:lnTo>
                          <a:pt x="478" y="218"/>
                        </a:lnTo>
                        <a:lnTo>
                          <a:pt x="481" y="220"/>
                        </a:lnTo>
                        <a:lnTo>
                          <a:pt x="488" y="230"/>
                        </a:lnTo>
                        <a:lnTo>
                          <a:pt x="490" y="232"/>
                        </a:lnTo>
                        <a:lnTo>
                          <a:pt x="493" y="234"/>
                        </a:lnTo>
                        <a:lnTo>
                          <a:pt x="495" y="234"/>
                        </a:lnTo>
                        <a:lnTo>
                          <a:pt x="497" y="237"/>
                        </a:lnTo>
                        <a:lnTo>
                          <a:pt x="497" y="239"/>
                        </a:lnTo>
                        <a:lnTo>
                          <a:pt x="500" y="242"/>
                        </a:lnTo>
                        <a:lnTo>
                          <a:pt x="502" y="244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30" name="Freeform 23">
                    <a:extLst>
                      <a:ext uri="{FF2B5EF4-FFF2-40B4-BE49-F238E27FC236}">
                        <a16:creationId xmlns:a16="http://schemas.microsoft.com/office/drawing/2014/main" id="{B5A352E8-0E80-4C06-A083-7EEDB74E50A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7469239" y="4623846"/>
                    <a:ext cx="672504" cy="1238876"/>
                  </a:xfrm>
                  <a:custGeom>
                    <a:avLst/>
                    <a:gdLst>
                      <a:gd name="T0" fmla="*/ 261 w 530"/>
                      <a:gd name="T1" fmla="*/ 7 h 975"/>
                      <a:gd name="T2" fmla="*/ 275 w 530"/>
                      <a:gd name="T3" fmla="*/ 64 h 975"/>
                      <a:gd name="T4" fmla="*/ 246 w 530"/>
                      <a:gd name="T5" fmla="*/ 128 h 975"/>
                      <a:gd name="T6" fmla="*/ 263 w 530"/>
                      <a:gd name="T7" fmla="*/ 178 h 975"/>
                      <a:gd name="T8" fmla="*/ 339 w 530"/>
                      <a:gd name="T9" fmla="*/ 201 h 975"/>
                      <a:gd name="T10" fmla="*/ 372 w 530"/>
                      <a:gd name="T11" fmla="*/ 220 h 975"/>
                      <a:gd name="T12" fmla="*/ 426 w 530"/>
                      <a:gd name="T13" fmla="*/ 239 h 975"/>
                      <a:gd name="T14" fmla="*/ 462 w 530"/>
                      <a:gd name="T15" fmla="*/ 260 h 975"/>
                      <a:gd name="T16" fmla="*/ 483 w 530"/>
                      <a:gd name="T17" fmla="*/ 322 h 975"/>
                      <a:gd name="T18" fmla="*/ 497 w 530"/>
                      <a:gd name="T19" fmla="*/ 360 h 975"/>
                      <a:gd name="T20" fmla="*/ 514 w 530"/>
                      <a:gd name="T21" fmla="*/ 416 h 975"/>
                      <a:gd name="T22" fmla="*/ 521 w 530"/>
                      <a:gd name="T23" fmla="*/ 428 h 975"/>
                      <a:gd name="T24" fmla="*/ 514 w 530"/>
                      <a:gd name="T25" fmla="*/ 464 h 975"/>
                      <a:gd name="T26" fmla="*/ 488 w 530"/>
                      <a:gd name="T27" fmla="*/ 476 h 975"/>
                      <a:gd name="T28" fmla="*/ 452 w 530"/>
                      <a:gd name="T29" fmla="*/ 473 h 975"/>
                      <a:gd name="T30" fmla="*/ 374 w 530"/>
                      <a:gd name="T31" fmla="*/ 532 h 975"/>
                      <a:gd name="T32" fmla="*/ 343 w 530"/>
                      <a:gd name="T33" fmla="*/ 582 h 975"/>
                      <a:gd name="T34" fmla="*/ 348 w 530"/>
                      <a:gd name="T35" fmla="*/ 610 h 975"/>
                      <a:gd name="T36" fmla="*/ 372 w 530"/>
                      <a:gd name="T37" fmla="*/ 717 h 975"/>
                      <a:gd name="T38" fmla="*/ 339 w 530"/>
                      <a:gd name="T39" fmla="*/ 757 h 975"/>
                      <a:gd name="T40" fmla="*/ 263 w 530"/>
                      <a:gd name="T41" fmla="*/ 916 h 975"/>
                      <a:gd name="T42" fmla="*/ 249 w 530"/>
                      <a:gd name="T43" fmla="*/ 951 h 975"/>
                      <a:gd name="T44" fmla="*/ 142 w 530"/>
                      <a:gd name="T45" fmla="*/ 972 h 975"/>
                      <a:gd name="T46" fmla="*/ 105 w 530"/>
                      <a:gd name="T47" fmla="*/ 946 h 975"/>
                      <a:gd name="T48" fmla="*/ 95 w 530"/>
                      <a:gd name="T49" fmla="*/ 906 h 975"/>
                      <a:gd name="T50" fmla="*/ 88 w 530"/>
                      <a:gd name="T51" fmla="*/ 859 h 975"/>
                      <a:gd name="T52" fmla="*/ 135 w 530"/>
                      <a:gd name="T53" fmla="*/ 819 h 975"/>
                      <a:gd name="T54" fmla="*/ 159 w 530"/>
                      <a:gd name="T55" fmla="*/ 717 h 975"/>
                      <a:gd name="T56" fmla="*/ 131 w 530"/>
                      <a:gd name="T57" fmla="*/ 681 h 975"/>
                      <a:gd name="T58" fmla="*/ 123 w 530"/>
                      <a:gd name="T59" fmla="*/ 667 h 975"/>
                      <a:gd name="T60" fmla="*/ 171 w 530"/>
                      <a:gd name="T61" fmla="*/ 625 h 975"/>
                      <a:gd name="T62" fmla="*/ 225 w 530"/>
                      <a:gd name="T63" fmla="*/ 603 h 975"/>
                      <a:gd name="T64" fmla="*/ 223 w 530"/>
                      <a:gd name="T65" fmla="*/ 530 h 975"/>
                      <a:gd name="T66" fmla="*/ 194 w 530"/>
                      <a:gd name="T67" fmla="*/ 511 h 975"/>
                      <a:gd name="T68" fmla="*/ 90 w 530"/>
                      <a:gd name="T69" fmla="*/ 301 h 975"/>
                      <a:gd name="T70" fmla="*/ 55 w 530"/>
                      <a:gd name="T71" fmla="*/ 263 h 975"/>
                      <a:gd name="T72" fmla="*/ 24 w 530"/>
                      <a:gd name="T73" fmla="*/ 194 h 975"/>
                      <a:gd name="T74" fmla="*/ 15 w 530"/>
                      <a:gd name="T75" fmla="*/ 161 h 975"/>
                      <a:gd name="T76" fmla="*/ 5 w 530"/>
                      <a:gd name="T77" fmla="*/ 125 h 975"/>
                      <a:gd name="T78" fmla="*/ 29 w 530"/>
                      <a:gd name="T79" fmla="*/ 97 h 975"/>
                      <a:gd name="T80" fmla="*/ 41 w 530"/>
                      <a:gd name="T81" fmla="*/ 104 h 975"/>
                      <a:gd name="T82" fmla="*/ 48 w 530"/>
                      <a:gd name="T83" fmla="*/ 97 h 975"/>
                      <a:gd name="T84" fmla="*/ 60 w 530"/>
                      <a:gd name="T85" fmla="*/ 95 h 975"/>
                      <a:gd name="T86" fmla="*/ 69 w 530"/>
                      <a:gd name="T87" fmla="*/ 102 h 975"/>
                      <a:gd name="T88" fmla="*/ 83 w 530"/>
                      <a:gd name="T89" fmla="*/ 97 h 975"/>
                      <a:gd name="T90" fmla="*/ 81 w 530"/>
                      <a:gd name="T91" fmla="*/ 111 h 975"/>
                      <a:gd name="T92" fmla="*/ 97 w 530"/>
                      <a:gd name="T93" fmla="*/ 125 h 975"/>
                      <a:gd name="T94" fmla="*/ 109 w 530"/>
                      <a:gd name="T95" fmla="*/ 125 h 975"/>
                      <a:gd name="T96" fmla="*/ 147 w 530"/>
                      <a:gd name="T97" fmla="*/ 109 h 975"/>
                      <a:gd name="T98" fmla="*/ 175 w 530"/>
                      <a:gd name="T99" fmla="*/ 99 h 975"/>
                      <a:gd name="T100" fmla="*/ 185 w 530"/>
                      <a:gd name="T101" fmla="*/ 104 h 975"/>
                      <a:gd name="T102" fmla="*/ 190 w 530"/>
                      <a:gd name="T103" fmla="*/ 109 h 975"/>
                      <a:gd name="T104" fmla="*/ 192 w 530"/>
                      <a:gd name="T105" fmla="*/ 102 h 975"/>
                      <a:gd name="T106" fmla="*/ 187 w 530"/>
                      <a:gd name="T107" fmla="*/ 97 h 975"/>
                      <a:gd name="T108" fmla="*/ 190 w 530"/>
                      <a:gd name="T109" fmla="*/ 90 h 975"/>
                      <a:gd name="T110" fmla="*/ 192 w 530"/>
                      <a:gd name="T111" fmla="*/ 78 h 975"/>
                      <a:gd name="T112" fmla="*/ 197 w 530"/>
                      <a:gd name="T113" fmla="*/ 66 h 975"/>
                      <a:gd name="T114" fmla="*/ 194 w 530"/>
                      <a:gd name="T115" fmla="*/ 54 h 975"/>
                      <a:gd name="T116" fmla="*/ 197 w 530"/>
                      <a:gd name="T117" fmla="*/ 31 h 975"/>
                      <a:gd name="T118" fmla="*/ 194 w 530"/>
                      <a:gd name="T119" fmla="*/ 12 h 975"/>
                      <a:gd name="T120" fmla="*/ 202 w 530"/>
                      <a:gd name="T121" fmla="*/ 10 h 975"/>
                      <a:gd name="T122" fmla="*/ 228 w 530"/>
                      <a:gd name="T123" fmla="*/ 7 h 97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530" h="975">
                        <a:moveTo>
                          <a:pt x="239" y="2"/>
                        </a:moveTo>
                        <a:lnTo>
                          <a:pt x="239" y="2"/>
                        </a:lnTo>
                        <a:lnTo>
                          <a:pt x="261" y="0"/>
                        </a:lnTo>
                        <a:lnTo>
                          <a:pt x="265" y="0"/>
                        </a:lnTo>
                        <a:lnTo>
                          <a:pt x="261" y="7"/>
                        </a:lnTo>
                        <a:lnTo>
                          <a:pt x="258" y="17"/>
                        </a:lnTo>
                        <a:lnTo>
                          <a:pt x="258" y="33"/>
                        </a:lnTo>
                        <a:lnTo>
                          <a:pt x="261" y="38"/>
                        </a:lnTo>
                        <a:lnTo>
                          <a:pt x="268" y="54"/>
                        </a:lnTo>
                        <a:lnTo>
                          <a:pt x="275" y="64"/>
                        </a:lnTo>
                        <a:lnTo>
                          <a:pt x="272" y="71"/>
                        </a:lnTo>
                        <a:lnTo>
                          <a:pt x="268" y="76"/>
                        </a:lnTo>
                        <a:lnTo>
                          <a:pt x="265" y="88"/>
                        </a:lnTo>
                        <a:lnTo>
                          <a:pt x="254" y="104"/>
                        </a:lnTo>
                        <a:lnTo>
                          <a:pt x="246" y="128"/>
                        </a:lnTo>
                        <a:lnTo>
                          <a:pt x="244" y="142"/>
                        </a:lnTo>
                        <a:lnTo>
                          <a:pt x="246" y="154"/>
                        </a:lnTo>
                        <a:lnTo>
                          <a:pt x="251" y="166"/>
                        </a:lnTo>
                        <a:lnTo>
                          <a:pt x="263" y="175"/>
                        </a:lnTo>
                        <a:lnTo>
                          <a:pt x="263" y="178"/>
                        </a:lnTo>
                        <a:lnTo>
                          <a:pt x="261" y="187"/>
                        </a:lnTo>
                        <a:lnTo>
                          <a:pt x="272" y="199"/>
                        </a:lnTo>
                        <a:lnTo>
                          <a:pt x="289" y="206"/>
                        </a:lnTo>
                        <a:lnTo>
                          <a:pt x="301" y="208"/>
                        </a:lnTo>
                        <a:lnTo>
                          <a:pt x="339" y="201"/>
                        </a:lnTo>
                        <a:lnTo>
                          <a:pt x="351" y="204"/>
                        </a:lnTo>
                        <a:lnTo>
                          <a:pt x="355" y="206"/>
                        </a:lnTo>
                        <a:lnTo>
                          <a:pt x="362" y="208"/>
                        </a:lnTo>
                        <a:lnTo>
                          <a:pt x="369" y="215"/>
                        </a:lnTo>
                        <a:lnTo>
                          <a:pt x="372" y="220"/>
                        </a:lnTo>
                        <a:lnTo>
                          <a:pt x="374" y="222"/>
                        </a:lnTo>
                        <a:lnTo>
                          <a:pt x="396" y="230"/>
                        </a:lnTo>
                        <a:lnTo>
                          <a:pt x="412" y="239"/>
                        </a:lnTo>
                        <a:lnTo>
                          <a:pt x="419" y="239"/>
                        </a:lnTo>
                        <a:lnTo>
                          <a:pt x="426" y="239"/>
                        </a:lnTo>
                        <a:lnTo>
                          <a:pt x="433" y="239"/>
                        </a:lnTo>
                        <a:lnTo>
                          <a:pt x="438" y="244"/>
                        </a:lnTo>
                        <a:lnTo>
                          <a:pt x="443" y="248"/>
                        </a:lnTo>
                        <a:lnTo>
                          <a:pt x="450" y="256"/>
                        </a:lnTo>
                        <a:lnTo>
                          <a:pt x="462" y="260"/>
                        </a:lnTo>
                        <a:lnTo>
                          <a:pt x="474" y="265"/>
                        </a:lnTo>
                        <a:lnTo>
                          <a:pt x="485" y="263"/>
                        </a:lnTo>
                        <a:lnTo>
                          <a:pt x="478" y="293"/>
                        </a:lnTo>
                        <a:lnTo>
                          <a:pt x="481" y="317"/>
                        </a:lnTo>
                        <a:lnTo>
                          <a:pt x="483" y="322"/>
                        </a:lnTo>
                        <a:lnTo>
                          <a:pt x="485" y="329"/>
                        </a:lnTo>
                        <a:lnTo>
                          <a:pt x="488" y="334"/>
                        </a:lnTo>
                        <a:lnTo>
                          <a:pt x="495" y="341"/>
                        </a:lnTo>
                        <a:lnTo>
                          <a:pt x="497" y="345"/>
                        </a:lnTo>
                        <a:lnTo>
                          <a:pt x="497" y="360"/>
                        </a:lnTo>
                        <a:lnTo>
                          <a:pt x="497" y="383"/>
                        </a:lnTo>
                        <a:lnTo>
                          <a:pt x="500" y="398"/>
                        </a:lnTo>
                        <a:lnTo>
                          <a:pt x="509" y="409"/>
                        </a:lnTo>
                        <a:lnTo>
                          <a:pt x="511" y="414"/>
                        </a:lnTo>
                        <a:lnTo>
                          <a:pt x="514" y="416"/>
                        </a:lnTo>
                        <a:lnTo>
                          <a:pt x="526" y="416"/>
                        </a:lnTo>
                        <a:lnTo>
                          <a:pt x="530" y="416"/>
                        </a:lnTo>
                        <a:lnTo>
                          <a:pt x="526" y="421"/>
                        </a:lnTo>
                        <a:lnTo>
                          <a:pt x="523" y="426"/>
                        </a:lnTo>
                        <a:lnTo>
                          <a:pt x="521" y="428"/>
                        </a:lnTo>
                        <a:lnTo>
                          <a:pt x="526" y="445"/>
                        </a:lnTo>
                        <a:lnTo>
                          <a:pt x="526" y="447"/>
                        </a:lnTo>
                        <a:lnTo>
                          <a:pt x="516" y="459"/>
                        </a:lnTo>
                        <a:lnTo>
                          <a:pt x="516" y="461"/>
                        </a:lnTo>
                        <a:lnTo>
                          <a:pt x="514" y="464"/>
                        </a:lnTo>
                        <a:lnTo>
                          <a:pt x="511" y="469"/>
                        </a:lnTo>
                        <a:lnTo>
                          <a:pt x="509" y="478"/>
                        </a:lnTo>
                        <a:lnTo>
                          <a:pt x="504" y="471"/>
                        </a:lnTo>
                        <a:lnTo>
                          <a:pt x="495" y="471"/>
                        </a:lnTo>
                        <a:lnTo>
                          <a:pt x="488" y="476"/>
                        </a:lnTo>
                        <a:lnTo>
                          <a:pt x="481" y="480"/>
                        </a:lnTo>
                        <a:lnTo>
                          <a:pt x="471" y="473"/>
                        </a:lnTo>
                        <a:lnTo>
                          <a:pt x="466" y="471"/>
                        </a:lnTo>
                        <a:lnTo>
                          <a:pt x="459" y="471"/>
                        </a:lnTo>
                        <a:lnTo>
                          <a:pt x="452" y="473"/>
                        </a:lnTo>
                        <a:lnTo>
                          <a:pt x="422" y="487"/>
                        </a:lnTo>
                        <a:lnTo>
                          <a:pt x="391" y="511"/>
                        </a:lnTo>
                        <a:lnTo>
                          <a:pt x="379" y="525"/>
                        </a:lnTo>
                        <a:lnTo>
                          <a:pt x="377" y="528"/>
                        </a:lnTo>
                        <a:lnTo>
                          <a:pt x="374" y="532"/>
                        </a:lnTo>
                        <a:lnTo>
                          <a:pt x="358" y="547"/>
                        </a:lnTo>
                        <a:lnTo>
                          <a:pt x="351" y="556"/>
                        </a:lnTo>
                        <a:lnTo>
                          <a:pt x="348" y="561"/>
                        </a:lnTo>
                        <a:lnTo>
                          <a:pt x="348" y="575"/>
                        </a:lnTo>
                        <a:lnTo>
                          <a:pt x="343" y="582"/>
                        </a:lnTo>
                        <a:lnTo>
                          <a:pt x="341" y="589"/>
                        </a:lnTo>
                        <a:lnTo>
                          <a:pt x="343" y="599"/>
                        </a:lnTo>
                        <a:lnTo>
                          <a:pt x="346" y="601"/>
                        </a:lnTo>
                        <a:lnTo>
                          <a:pt x="348" y="603"/>
                        </a:lnTo>
                        <a:lnTo>
                          <a:pt x="348" y="610"/>
                        </a:lnTo>
                        <a:lnTo>
                          <a:pt x="358" y="641"/>
                        </a:lnTo>
                        <a:lnTo>
                          <a:pt x="369" y="667"/>
                        </a:lnTo>
                        <a:lnTo>
                          <a:pt x="372" y="679"/>
                        </a:lnTo>
                        <a:lnTo>
                          <a:pt x="374" y="710"/>
                        </a:lnTo>
                        <a:lnTo>
                          <a:pt x="372" y="717"/>
                        </a:lnTo>
                        <a:lnTo>
                          <a:pt x="362" y="731"/>
                        </a:lnTo>
                        <a:lnTo>
                          <a:pt x="358" y="738"/>
                        </a:lnTo>
                        <a:lnTo>
                          <a:pt x="355" y="741"/>
                        </a:lnTo>
                        <a:lnTo>
                          <a:pt x="348" y="750"/>
                        </a:lnTo>
                        <a:lnTo>
                          <a:pt x="339" y="757"/>
                        </a:lnTo>
                        <a:lnTo>
                          <a:pt x="310" y="778"/>
                        </a:lnTo>
                        <a:lnTo>
                          <a:pt x="301" y="790"/>
                        </a:lnTo>
                        <a:lnTo>
                          <a:pt x="268" y="857"/>
                        </a:lnTo>
                        <a:lnTo>
                          <a:pt x="263" y="871"/>
                        </a:lnTo>
                        <a:lnTo>
                          <a:pt x="263" y="916"/>
                        </a:lnTo>
                        <a:lnTo>
                          <a:pt x="261" y="930"/>
                        </a:lnTo>
                        <a:lnTo>
                          <a:pt x="258" y="937"/>
                        </a:lnTo>
                        <a:lnTo>
                          <a:pt x="256" y="942"/>
                        </a:lnTo>
                        <a:lnTo>
                          <a:pt x="251" y="946"/>
                        </a:lnTo>
                        <a:lnTo>
                          <a:pt x="249" y="951"/>
                        </a:lnTo>
                        <a:lnTo>
                          <a:pt x="232" y="958"/>
                        </a:lnTo>
                        <a:lnTo>
                          <a:pt x="228" y="961"/>
                        </a:lnTo>
                        <a:lnTo>
                          <a:pt x="209" y="958"/>
                        </a:lnTo>
                        <a:lnTo>
                          <a:pt x="149" y="975"/>
                        </a:lnTo>
                        <a:lnTo>
                          <a:pt x="142" y="972"/>
                        </a:lnTo>
                        <a:lnTo>
                          <a:pt x="133" y="970"/>
                        </a:lnTo>
                        <a:lnTo>
                          <a:pt x="123" y="968"/>
                        </a:lnTo>
                        <a:lnTo>
                          <a:pt x="116" y="963"/>
                        </a:lnTo>
                        <a:lnTo>
                          <a:pt x="109" y="956"/>
                        </a:lnTo>
                        <a:lnTo>
                          <a:pt x="105" y="946"/>
                        </a:lnTo>
                        <a:lnTo>
                          <a:pt x="102" y="939"/>
                        </a:lnTo>
                        <a:lnTo>
                          <a:pt x="109" y="932"/>
                        </a:lnTo>
                        <a:lnTo>
                          <a:pt x="97" y="920"/>
                        </a:lnTo>
                        <a:lnTo>
                          <a:pt x="95" y="913"/>
                        </a:lnTo>
                        <a:lnTo>
                          <a:pt x="95" y="906"/>
                        </a:lnTo>
                        <a:lnTo>
                          <a:pt x="97" y="897"/>
                        </a:lnTo>
                        <a:lnTo>
                          <a:pt x="97" y="890"/>
                        </a:lnTo>
                        <a:lnTo>
                          <a:pt x="97" y="883"/>
                        </a:lnTo>
                        <a:lnTo>
                          <a:pt x="93" y="873"/>
                        </a:lnTo>
                        <a:lnTo>
                          <a:pt x="88" y="859"/>
                        </a:lnTo>
                        <a:lnTo>
                          <a:pt x="93" y="849"/>
                        </a:lnTo>
                        <a:lnTo>
                          <a:pt x="102" y="842"/>
                        </a:lnTo>
                        <a:lnTo>
                          <a:pt x="133" y="826"/>
                        </a:lnTo>
                        <a:lnTo>
                          <a:pt x="135" y="821"/>
                        </a:lnTo>
                        <a:lnTo>
                          <a:pt x="135" y="819"/>
                        </a:lnTo>
                        <a:lnTo>
                          <a:pt x="140" y="814"/>
                        </a:lnTo>
                        <a:lnTo>
                          <a:pt x="140" y="812"/>
                        </a:lnTo>
                        <a:lnTo>
                          <a:pt x="142" y="793"/>
                        </a:lnTo>
                        <a:lnTo>
                          <a:pt x="157" y="736"/>
                        </a:lnTo>
                        <a:lnTo>
                          <a:pt x="159" y="717"/>
                        </a:lnTo>
                        <a:lnTo>
                          <a:pt x="154" y="703"/>
                        </a:lnTo>
                        <a:lnTo>
                          <a:pt x="147" y="693"/>
                        </a:lnTo>
                        <a:lnTo>
                          <a:pt x="138" y="684"/>
                        </a:lnTo>
                        <a:lnTo>
                          <a:pt x="135" y="681"/>
                        </a:lnTo>
                        <a:lnTo>
                          <a:pt x="131" y="681"/>
                        </a:lnTo>
                        <a:lnTo>
                          <a:pt x="128" y="679"/>
                        </a:lnTo>
                        <a:lnTo>
                          <a:pt x="123" y="677"/>
                        </a:lnTo>
                        <a:lnTo>
                          <a:pt x="123" y="674"/>
                        </a:lnTo>
                        <a:lnTo>
                          <a:pt x="123" y="672"/>
                        </a:lnTo>
                        <a:lnTo>
                          <a:pt x="123" y="667"/>
                        </a:lnTo>
                        <a:lnTo>
                          <a:pt x="123" y="663"/>
                        </a:lnTo>
                        <a:lnTo>
                          <a:pt x="131" y="658"/>
                        </a:lnTo>
                        <a:lnTo>
                          <a:pt x="142" y="651"/>
                        </a:lnTo>
                        <a:lnTo>
                          <a:pt x="159" y="632"/>
                        </a:lnTo>
                        <a:lnTo>
                          <a:pt x="171" y="625"/>
                        </a:lnTo>
                        <a:lnTo>
                          <a:pt x="185" y="620"/>
                        </a:lnTo>
                        <a:lnTo>
                          <a:pt x="209" y="618"/>
                        </a:lnTo>
                        <a:lnTo>
                          <a:pt x="213" y="615"/>
                        </a:lnTo>
                        <a:lnTo>
                          <a:pt x="218" y="613"/>
                        </a:lnTo>
                        <a:lnTo>
                          <a:pt x="225" y="603"/>
                        </a:lnTo>
                        <a:lnTo>
                          <a:pt x="230" y="589"/>
                        </a:lnTo>
                        <a:lnTo>
                          <a:pt x="232" y="573"/>
                        </a:lnTo>
                        <a:lnTo>
                          <a:pt x="230" y="556"/>
                        </a:lnTo>
                        <a:lnTo>
                          <a:pt x="228" y="537"/>
                        </a:lnTo>
                        <a:lnTo>
                          <a:pt x="223" y="530"/>
                        </a:lnTo>
                        <a:lnTo>
                          <a:pt x="218" y="523"/>
                        </a:lnTo>
                        <a:lnTo>
                          <a:pt x="213" y="521"/>
                        </a:lnTo>
                        <a:lnTo>
                          <a:pt x="206" y="521"/>
                        </a:lnTo>
                        <a:lnTo>
                          <a:pt x="202" y="518"/>
                        </a:lnTo>
                        <a:lnTo>
                          <a:pt x="194" y="511"/>
                        </a:lnTo>
                        <a:lnTo>
                          <a:pt x="171" y="473"/>
                        </a:lnTo>
                        <a:lnTo>
                          <a:pt x="140" y="376"/>
                        </a:lnTo>
                        <a:lnTo>
                          <a:pt x="133" y="364"/>
                        </a:lnTo>
                        <a:lnTo>
                          <a:pt x="97" y="308"/>
                        </a:lnTo>
                        <a:lnTo>
                          <a:pt x="90" y="301"/>
                        </a:lnTo>
                        <a:lnTo>
                          <a:pt x="78" y="291"/>
                        </a:lnTo>
                        <a:lnTo>
                          <a:pt x="69" y="286"/>
                        </a:lnTo>
                        <a:lnTo>
                          <a:pt x="64" y="282"/>
                        </a:lnTo>
                        <a:lnTo>
                          <a:pt x="62" y="272"/>
                        </a:lnTo>
                        <a:lnTo>
                          <a:pt x="55" y="263"/>
                        </a:lnTo>
                        <a:lnTo>
                          <a:pt x="48" y="248"/>
                        </a:lnTo>
                        <a:lnTo>
                          <a:pt x="41" y="239"/>
                        </a:lnTo>
                        <a:lnTo>
                          <a:pt x="36" y="232"/>
                        </a:lnTo>
                        <a:lnTo>
                          <a:pt x="22" y="189"/>
                        </a:lnTo>
                        <a:lnTo>
                          <a:pt x="24" y="194"/>
                        </a:lnTo>
                        <a:lnTo>
                          <a:pt x="19" y="185"/>
                        </a:lnTo>
                        <a:lnTo>
                          <a:pt x="17" y="182"/>
                        </a:lnTo>
                        <a:lnTo>
                          <a:pt x="15" y="180"/>
                        </a:lnTo>
                        <a:lnTo>
                          <a:pt x="15" y="178"/>
                        </a:lnTo>
                        <a:lnTo>
                          <a:pt x="15" y="161"/>
                        </a:lnTo>
                        <a:lnTo>
                          <a:pt x="12" y="151"/>
                        </a:lnTo>
                        <a:lnTo>
                          <a:pt x="0" y="140"/>
                        </a:lnTo>
                        <a:lnTo>
                          <a:pt x="0" y="137"/>
                        </a:lnTo>
                        <a:lnTo>
                          <a:pt x="3" y="130"/>
                        </a:lnTo>
                        <a:lnTo>
                          <a:pt x="5" y="125"/>
                        </a:lnTo>
                        <a:lnTo>
                          <a:pt x="5" y="123"/>
                        </a:lnTo>
                        <a:lnTo>
                          <a:pt x="5" y="121"/>
                        </a:lnTo>
                        <a:lnTo>
                          <a:pt x="24" y="99"/>
                        </a:lnTo>
                        <a:lnTo>
                          <a:pt x="26" y="99"/>
                        </a:lnTo>
                        <a:lnTo>
                          <a:pt x="29" y="97"/>
                        </a:lnTo>
                        <a:lnTo>
                          <a:pt x="36" y="99"/>
                        </a:lnTo>
                        <a:lnTo>
                          <a:pt x="36" y="99"/>
                        </a:lnTo>
                        <a:lnTo>
                          <a:pt x="38" y="102"/>
                        </a:lnTo>
                        <a:lnTo>
                          <a:pt x="41" y="102"/>
                        </a:lnTo>
                        <a:lnTo>
                          <a:pt x="41" y="104"/>
                        </a:lnTo>
                        <a:lnTo>
                          <a:pt x="43" y="104"/>
                        </a:lnTo>
                        <a:lnTo>
                          <a:pt x="45" y="104"/>
                        </a:lnTo>
                        <a:lnTo>
                          <a:pt x="45" y="102"/>
                        </a:lnTo>
                        <a:lnTo>
                          <a:pt x="48" y="97"/>
                        </a:lnTo>
                        <a:lnTo>
                          <a:pt x="48" y="97"/>
                        </a:lnTo>
                        <a:lnTo>
                          <a:pt x="48" y="95"/>
                        </a:lnTo>
                        <a:lnTo>
                          <a:pt x="55" y="95"/>
                        </a:lnTo>
                        <a:lnTo>
                          <a:pt x="57" y="92"/>
                        </a:lnTo>
                        <a:lnTo>
                          <a:pt x="60" y="92"/>
                        </a:lnTo>
                        <a:lnTo>
                          <a:pt x="60" y="95"/>
                        </a:lnTo>
                        <a:lnTo>
                          <a:pt x="60" y="95"/>
                        </a:lnTo>
                        <a:lnTo>
                          <a:pt x="67" y="99"/>
                        </a:lnTo>
                        <a:lnTo>
                          <a:pt x="67" y="102"/>
                        </a:lnTo>
                        <a:lnTo>
                          <a:pt x="69" y="102"/>
                        </a:lnTo>
                        <a:lnTo>
                          <a:pt x="69" y="102"/>
                        </a:lnTo>
                        <a:lnTo>
                          <a:pt x="74" y="102"/>
                        </a:lnTo>
                        <a:lnTo>
                          <a:pt x="74" y="102"/>
                        </a:lnTo>
                        <a:lnTo>
                          <a:pt x="81" y="97"/>
                        </a:lnTo>
                        <a:lnTo>
                          <a:pt x="81" y="97"/>
                        </a:lnTo>
                        <a:lnTo>
                          <a:pt x="83" y="97"/>
                        </a:lnTo>
                        <a:lnTo>
                          <a:pt x="83" y="97"/>
                        </a:lnTo>
                        <a:lnTo>
                          <a:pt x="81" y="104"/>
                        </a:lnTo>
                        <a:lnTo>
                          <a:pt x="81" y="107"/>
                        </a:lnTo>
                        <a:lnTo>
                          <a:pt x="81" y="109"/>
                        </a:lnTo>
                        <a:lnTo>
                          <a:pt x="81" y="111"/>
                        </a:lnTo>
                        <a:lnTo>
                          <a:pt x="81" y="111"/>
                        </a:lnTo>
                        <a:lnTo>
                          <a:pt x="83" y="114"/>
                        </a:lnTo>
                        <a:lnTo>
                          <a:pt x="90" y="118"/>
                        </a:lnTo>
                        <a:lnTo>
                          <a:pt x="95" y="123"/>
                        </a:lnTo>
                        <a:lnTo>
                          <a:pt x="97" y="125"/>
                        </a:lnTo>
                        <a:lnTo>
                          <a:pt x="100" y="125"/>
                        </a:lnTo>
                        <a:lnTo>
                          <a:pt x="102" y="125"/>
                        </a:lnTo>
                        <a:lnTo>
                          <a:pt x="105" y="125"/>
                        </a:lnTo>
                        <a:lnTo>
                          <a:pt x="107" y="125"/>
                        </a:lnTo>
                        <a:lnTo>
                          <a:pt x="109" y="125"/>
                        </a:lnTo>
                        <a:lnTo>
                          <a:pt x="142" y="116"/>
                        </a:lnTo>
                        <a:lnTo>
                          <a:pt x="145" y="114"/>
                        </a:lnTo>
                        <a:lnTo>
                          <a:pt x="145" y="111"/>
                        </a:lnTo>
                        <a:lnTo>
                          <a:pt x="147" y="109"/>
                        </a:lnTo>
                        <a:lnTo>
                          <a:pt x="147" y="109"/>
                        </a:lnTo>
                        <a:lnTo>
                          <a:pt x="152" y="104"/>
                        </a:lnTo>
                        <a:lnTo>
                          <a:pt x="159" y="99"/>
                        </a:lnTo>
                        <a:lnTo>
                          <a:pt x="161" y="99"/>
                        </a:lnTo>
                        <a:lnTo>
                          <a:pt x="173" y="99"/>
                        </a:lnTo>
                        <a:lnTo>
                          <a:pt x="175" y="99"/>
                        </a:lnTo>
                        <a:lnTo>
                          <a:pt x="178" y="99"/>
                        </a:lnTo>
                        <a:lnTo>
                          <a:pt x="180" y="102"/>
                        </a:lnTo>
                        <a:lnTo>
                          <a:pt x="180" y="102"/>
                        </a:lnTo>
                        <a:lnTo>
                          <a:pt x="183" y="104"/>
                        </a:lnTo>
                        <a:lnTo>
                          <a:pt x="185" y="104"/>
                        </a:lnTo>
                        <a:lnTo>
                          <a:pt x="185" y="104"/>
                        </a:lnTo>
                        <a:lnTo>
                          <a:pt x="185" y="107"/>
                        </a:lnTo>
                        <a:lnTo>
                          <a:pt x="187" y="109"/>
                        </a:lnTo>
                        <a:lnTo>
                          <a:pt x="190" y="109"/>
                        </a:lnTo>
                        <a:lnTo>
                          <a:pt x="190" y="109"/>
                        </a:lnTo>
                        <a:lnTo>
                          <a:pt x="192" y="111"/>
                        </a:lnTo>
                        <a:lnTo>
                          <a:pt x="194" y="109"/>
                        </a:lnTo>
                        <a:lnTo>
                          <a:pt x="194" y="109"/>
                        </a:lnTo>
                        <a:lnTo>
                          <a:pt x="194" y="107"/>
                        </a:lnTo>
                        <a:lnTo>
                          <a:pt x="192" y="102"/>
                        </a:lnTo>
                        <a:lnTo>
                          <a:pt x="192" y="99"/>
                        </a:lnTo>
                        <a:lnTo>
                          <a:pt x="192" y="99"/>
                        </a:lnTo>
                        <a:lnTo>
                          <a:pt x="190" y="99"/>
                        </a:lnTo>
                        <a:lnTo>
                          <a:pt x="190" y="99"/>
                        </a:lnTo>
                        <a:lnTo>
                          <a:pt x="187" y="97"/>
                        </a:lnTo>
                        <a:lnTo>
                          <a:pt x="187" y="97"/>
                        </a:lnTo>
                        <a:lnTo>
                          <a:pt x="187" y="95"/>
                        </a:lnTo>
                        <a:lnTo>
                          <a:pt x="187" y="95"/>
                        </a:lnTo>
                        <a:lnTo>
                          <a:pt x="190" y="92"/>
                        </a:lnTo>
                        <a:lnTo>
                          <a:pt x="190" y="90"/>
                        </a:lnTo>
                        <a:lnTo>
                          <a:pt x="190" y="90"/>
                        </a:lnTo>
                        <a:lnTo>
                          <a:pt x="190" y="88"/>
                        </a:lnTo>
                        <a:lnTo>
                          <a:pt x="190" y="83"/>
                        </a:lnTo>
                        <a:lnTo>
                          <a:pt x="190" y="78"/>
                        </a:lnTo>
                        <a:lnTo>
                          <a:pt x="192" y="78"/>
                        </a:lnTo>
                        <a:lnTo>
                          <a:pt x="192" y="76"/>
                        </a:lnTo>
                        <a:lnTo>
                          <a:pt x="194" y="73"/>
                        </a:lnTo>
                        <a:lnTo>
                          <a:pt x="194" y="71"/>
                        </a:lnTo>
                        <a:lnTo>
                          <a:pt x="194" y="71"/>
                        </a:lnTo>
                        <a:lnTo>
                          <a:pt x="197" y="66"/>
                        </a:lnTo>
                        <a:lnTo>
                          <a:pt x="197" y="66"/>
                        </a:lnTo>
                        <a:lnTo>
                          <a:pt x="197" y="64"/>
                        </a:lnTo>
                        <a:lnTo>
                          <a:pt x="194" y="64"/>
                        </a:lnTo>
                        <a:lnTo>
                          <a:pt x="194" y="54"/>
                        </a:lnTo>
                        <a:lnTo>
                          <a:pt x="194" y="54"/>
                        </a:lnTo>
                        <a:lnTo>
                          <a:pt x="194" y="52"/>
                        </a:lnTo>
                        <a:lnTo>
                          <a:pt x="194" y="50"/>
                        </a:lnTo>
                        <a:lnTo>
                          <a:pt x="194" y="45"/>
                        </a:lnTo>
                        <a:lnTo>
                          <a:pt x="197" y="36"/>
                        </a:lnTo>
                        <a:lnTo>
                          <a:pt x="197" y="31"/>
                        </a:lnTo>
                        <a:lnTo>
                          <a:pt x="194" y="21"/>
                        </a:lnTo>
                        <a:lnTo>
                          <a:pt x="194" y="17"/>
                        </a:lnTo>
                        <a:lnTo>
                          <a:pt x="194" y="14"/>
                        </a:lnTo>
                        <a:lnTo>
                          <a:pt x="194" y="12"/>
                        </a:lnTo>
                        <a:lnTo>
                          <a:pt x="194" y="12"/>
                        </a:lnTo>
                        <a:lnTo>
                          <a:pt x="197" y="10"/>
                        </a:lnTo>
                        <a:lnTo>
                          <a:pt x="197" y="7"/>
                        </a:lnTo>
                        <a:lnTo>
                          <a:pt x="199" y="7"/>
                        </a:lnTo>
                        <a:lnTo>
                          <a:pt x="199" y="7"/>
                        </a:lnTo>
                        <a:lnTo>
                          <a:pt x="202" y="10"/>
                        </a:lnTo>
                        <a:lnTo>
                          <a:pt x="204" y="10"/>
                        </a:lnTo>
                        <a:lnTo>
                          <a:pt x="204" y="12"/>
                        </a:lnTo>
                        <a:lnTo>
                          <a:pt x="206" y="12"/>
                        </a:lnTo>
                        <a:lnTo>
                          <a:pt x="216" y="7"/>
                        </a:lnTo>
                        <a:lnTo>
                          <a:pt x="228" y="7"/>
                        </a:lnTo>
                        <a:lnTo>
                          <a:pt x="228" y="7"/>
                        </a:lnTo>
                        <a:lnTo>
                          <a:pt x="230" y="7"/>
                        </a:lnTo>
                        <a:lnTo>
                          <a:pt x="239" y="2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31" name="Freeform 25">
                    <a:extLst>
                      <a:ext uri="{FF2B5EF4-FFF2-40B4-BE49-F238E27FC236}">
                        <a16:creationId xmlns:a16="http://schemas.microsoft.com/office/drawing/2014/main" id="{273A1434-3E0E-4305-AF9D-3A97B9DBB88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6552607" y="4027435"/>
                    <a:ext cx="902813" cy="759905"/>
                  </a:xfrm>
                  <a:custGeom>
                    <a:avLst/>
                    <a:gdLst>
                      <a:gd name="T0" fmla="*/ 679 w 710"/>
                      <a:gd name="T1" fmla="*/ 549 h 598"/>
                      <a:gd name="T2" fmla="*/ 686 w 710"/>
                      <a:gd name="T3" fmla="*/ 511 h 598"/>
                      <a:gd name="T4" fmla="*/ 700 w 710"/>
                      <a:gd name="T5" fmla="*/ 492 h 598"/>
                      <a:gd name="T6" fmla="*/ 710 w 710"/>
                      <a:gd name="T7" fmla="*/ 468 h 598"/>
                      <a:gd name="T8" fmla="*/ 698 w 710"/>
                      <a:gd name="T9" fmla="*/ 454 h 598"/>
                      <a:gd name="T10" fmla="*/ 681 w 710"/>
                      <a:gd name="T11" fmla="*/ 442 h 598"/>
                      <a:gd name="T12" fmla="*/ 667 w 710"/>
                      <a:gd name="T13" fmla="*/ 416 h 598"/>
                      <a:gd name="T14" fmla="*/ 643 w 710"/>
                      <a:gd name="T15" fmla="*/ 407 h 598"/>
                      <a:gd name="T16" fmla="*/ 624 w 710"/>
                      <a:gd name="T17" fmla="*/ 395 h 598"/>
                      <a:gd name="T18" fmla="*/ 613 w 710"/>
                      <a:gd name="T19" fmla="*/ 381 h 598"/>
                      <a:gd name="T20" fmla="*/ 591 w 710"/>
                      <a:gd name="T21" fmla="*/ 347 h 598"/>
                      <a:gd name="T22" fmla="*/ 575 w 710"/>
                      <a:gd name="T23" fmla="*/ 340 h 598"/>
                      <a:gd name="T24" fmla="*/ 584 w 710"/>
                      <a:gd name="T25" fmla="*/ 324 h 598"/>
                      <a:gd name="T26" fmla="*/ 575 w 710"/>
                      <a:gd name="T27" fmla="*/ 314 h 598"/>
                      <a:gd name="T28" fmla="*/ 549 w 710"/>
                      <a:gd name="T29" fmla="*/ 298 h 598"/>
                      <a:gd name="T30" fmla="*/ 537 w 710"/>
                      <a:gd name="T31" fmla="*/ 269 h 598"/>
                      <a:gd name="T32" fmla="*/ 527 w 710"/>
                      <a:gd name="T33" fmla="*/ 257 h 598"/>
                      <a:gd name="T34" fmla="*/ 530 w 710"/>
                      <a:gd name="T35" fmla="*/ 222 h 598"/>
                      <a:gd name="T36" fmla="*/ 587 w 710"/>
                      <a:gd name="T37" fmla="*/ 163 h 598"/>
                      <a:gd name="T38" fmla="*/ 525 w 710"/>
                      <a:gd name="T39" fmla="*/ 134 h 598"/>
                      <a:gd name="T40" fmla="*/ 478 w 710"/>
                      <a:gd name="T41" fmla="*/ 134 h 598"/>
                      <a:gd name="T42" fmla="*/ 468 w 710"/>
                      <a:gd name="T43" fmla="*/ 106 h 598"/>
                      <a:gd name="T44" fmla="*/ 468 w 710"/>
                      <a:gd name="T45" fmla="*/ 92 h 598"/>
                      <a:gd name="T46" fmla="*/ 466 w 710"/>
                      <a:gd name="T47" fmla="*/ 78 h 598"/>
                      <a:gd name="T48" fmla="*/ 437 w 710"/>
                      <a:gd name="T49" fmla="*/ 78 h 598"/>
                      <a:gd name="T50" fmla="*/ 407 w 710"/>
                      <a:gd name="T51" fmla="*/ 59 h 598"/>
                      <a:gd name="T52" fmla="*/ 404 w 710"/>
                      <a:gd name="T53" fmla="*/ 45 h 598"/>
                      <a:gd name="T54" fmla="*/ 411 w 710"/>
                      <a:gd name="T55" fmla="*/ 33 h 598"/>
                      <a:gd name="T56" fmla="*/ 390 w 710"/>
                      <a:gd name="T57" fmla="*/ 7 h 598"/>
                      <a:gd name="T58" fmla="*/ 338 w 710"/>
                      <a:gd name="T59" fmla="*/ 23 h 598"/>
                      <a:gd name="T60" fmla="*/ 312 w 710"/>
                      <a:gd name="T61" fmla="*/ 28 h 598"/>
                      <a:gd name="T62" fmla="*/ 303 w 710"/>
                      <a:gd name="T63" fmla="*/ 42 h 598"/>
                      <a:gd name="T64" fmla="*/ 258 w 710"/>
                      <a:gd name="T65" fmla="*/ 68 h 598"/>
                      <a:gd name="T66" fmla="*/ 243 w 710"/>
                      <a:gd name="T67" fmla="*/ 66 h 598"/>
                      <a:gd name="T68" fmla="*/ 206 w 710"/>
                      <a:gd name="T69" fmla="*/ 56 h 598"/>
                      <a:gd name="T70" fmla="*/ 137 w 710"/>
                      <a:gd name="T71" fmla="*/ 40 h 598"/>
                      <a:gd name="T72" fmla="*/ 97 w 710"/>
                      <a:gd name="T73" fmla="*/ 52 h 598"/>
                      <a:gd name="T74" fmla="*/ 92 w 710"/>
                      <a:gd name="T75" fmla="*/ 71 h 598"/>
                      <a:gd name="T76" fmla="*/ 102 w 710"/>
                      <a:gd name="T77" fmla="*/ 85 h 598"/>
                      <a:gd name="T78" fmla="*/ 80 w 710"/>
                      <a:gd name="T79" fmla="*/ 92 h 598"/>
                      <a:gd name="T80" fmla="*/ 52 w 710"/>
                      <a:gd name="T81" fmla="*/ 63 h 598"/>
                      <a:gd name="T82" fmla="*/ 26 w 710"/>
                      <a:gd name="T83" fmla="*/ 87 h 598"/>
                      <a:gd name="T84" fmla="*/ 31 w 710"/>
                      <a:gd name="T85" fmla="*/ 116 h 598"/>
                      <a:gd name="T86" fmla="*/ 31 w 710"/>
                      <a:gd name="T87" fmla="*/ 144 h 598"/>
                      <a:gd name="T88" fmla="*/ 19 w 710"/>
                      <a:gd name="T89" fmla="*/ 160 h 598"/>
                      <a:gd name="T90" fmla="*/ 64 w 710"/>
                      <a:gd name="T91" fmla="*/ 236 h 598"/>
                      <a:gd name="T92" fmla="*/ 123 w 710"/>
                      <a:gd name="T93" fmla="*/ 343 h 598"/>
                      <a:gd name="T94" fmla="*/ 142 w 710"/>
                      <a:gd name="T95" fmla="*/ 326 h 598"/>
                      <a:gd name="T96" fmla="*/ 206 w 710"/>
                      <a:gd name="T97" fmla="*/ 314 h 598"/>
                      <a:gd name="T98" fmla="*/ 246 w 710"/>
                      <a:gd name="T99" fmla="*/ 336 h 598"/>
                      <a:gd name="T100" fmla="*/ 241 w 710"/>
                      <a:gd name="T101" fmla="*/ 390 h 598"/>
                      <a:gd name="T102" fmla="*/ 248 w 710"/>
                      <a:gd name="T103" fmla="*/ 404 h 598"/>
                      <a:gd name="T104" fmla="*/ 317 w 710"/>
                      <a:gd name="T105" fmla="*/ 371 h 598"/>
                      <a:gd name="T106" fmla="*/ 393 w 710"/>
                      <a:gd name="T107" fmla="*/ 376 h 598"/>
                      <a:gd name="T108" fmla="*/ 437 w 710"/>
                      <a:gd name="T109" fmla="*/ 485 h 598"/>
                      <a:gd name="T110" fmla="*/ 449 w 710"/>
                      <a:gd name="T111" fmla="*/ 527 h 598"/>
                      <a:gd name="T112" fmla="*/ 504 w 710"/>
                      <a:gd name="T113" fmla="*/ 541 h 598"/>
                      <a:gd name="T114" fmla="*/ 561 w 710"/>
                      <a:gd name="T115" fmla="*/ 593 h 598"/>
                      <a:gd name="T116" fmla="*/ 608 w 710"/>
                      <a:gd name="T117" fmla="*/ 598 h 598"/>
                      <a:gd name="T118" fmla="*/ 672 w 710"/>
                      <a:gd name="T119" fmla="*/ 556 h 598"/>
                      <a:gd name="T120" fmla="*/ 71 w 710"/>
                      <a:gd name="T121" fmla="*/ 371 h 598"/>
                      <a:gd name="T122" fmla="*/ 102 w 710"/>
                      <a:gd name="T123" fmla="*/ 383 h 598"/>
                      <a:gd name="T124" fmla="*/ 68 w 710"/>
                      <a:gd name="T125" fmla="*/ 388 h 59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710" h="598">
                        <a:moveTo>
                          <a:pt x="684" y="553"/>
                        </a:moveTo>
                        <a:lnTo>
                          <a:pt x="684" y="553"/>
                        </a:lnTo>
                        <a:lnTo>
                          <a:pt x="684" y="553"/>
                        </a:lnTo>
                        <a:lnTo>
                          <a:pt x="681" y="553"/>
                        </a:lnTo>
                        <a:lnTo>
                          <a:pt x="681" y="553"/>
                        </a:lnTo>
                        <a:lnTo>
                          <a:pt x="679" y="551"/>
                        </a:lnTo>
                        <a:lnTo>
                          <a:pt x="679" y="549"/>
                        </a:lnTo>
                        <a:lnTo>
                          <a:pt x="679" y="549"/>
                        </a:lnTo>
                        <a:lnTo>
                          <a:pt x="681" y="544"/>
                        </a:lnTo>
                        <a:lnTo>
                          <a:pt x="684" y="541"/>
                        </a:lnTo>
                        <a:lnTo>
                          <a:pt x="688" y="525"/>
                        </a:lnTo>
                        <a:lnTo>
                          <a:pt x="688" y="520"/>
                        </a:lnTo>
                        <a:lnTo>
                          <a:pt x="688" y="520"/>
                        </a:lnTo>
                        <a:lnTo>
                          <a:pt x="688" y="515"/>
                        </a:lnTo>
                        <a:lnTo>
                          <a:pt x="686" y="511"/>
                        </a:lnTo>
                        <a:lnTo>
                          <a:pt x="686" y="511"/>
                        </a:lnTo>
                        <a:lnTo>
                          <a:pt x="688" y="508"/>
                        </a:lnTo>
                        <a:lnTo>
                          <a:pt x="691" y="506"/>
                        </a:lnTo>
                        <a:lnTo>
                          <a:pt x="693" y="501"/>
                        </a:lnTo>
                        <a:lnTo>
                          <a:pt x="693" y="499"/>
                        </a:lnTo>
                        <a:lnTo>
                          <a:pt x="693" y="496"/>
                        </a:lnTo>
                        <a:lnTo>
                          <a:pt x="695" y="496"/>
                        </a:lnTo>
                        <a:lnTo>
                          <a:pt x="698" y="494"/>
                        </a:lnTo>
                        <a:lnTo>
                          <a:pt x="700" y="492"/>
                        </a:lnTo>
                        <a:lnTo>
                          <a:pt x="700" y="492"/>
                        </a:lnTo>
                        <a:lnTo>
                          <a:pt x="702" y="487"/>
                        </a:lnTo>
                        <a:lnTo>
                          <a:pt x="705" y="485"/>
                        </a:lnTo>
                        <a:lnTo>
                          <a:pt x="707" y="482"/>
                        </a:lnTo>
                        <a:lnTo>
                          <a:pt x="710" y="475"/>
                        </a:lnTo>
                        <a:lnTo>
                          <a:pt x="710" y="470"/>
                        </a:lnTo>
                        <a:lnTo>
                          <a:pt x="710" y="470"/>
                        </a:lnTo>
                        <a:lnTo>
                          <a:pt x="710" y="468"/>
                        </a:lnTo>
                        <a:lnTo>
                          <a:pt x="710" y="466"/>
                        </a:lnTo>
                        <a:lnTo>
                          <a:pt x="710" y="463"/>
                        </a:lnTo>
                        <a:lnTo>
                          <a:pt x="707" y="463"/>
                        </a:lnTo>
                        <a:lnTo>
                          <a:pt x="707" y="461"/>
                        </a:lnTo>
                        <a:lnTo>
                          <a:pt x="705" y="459"/>
                        </a:lnTo>
                        <a:lnTo>
                          <a:pt x="700" y="456"/>
                        </a:lnTo>
                        <a:lnTo>
                          <a:pt x="700" y="456"/>
                        </a:lnTo>
                        <a:lnTo>
                          <a:pt x="698" y="454"/>
                        </a:lnTo>
                        <a:lnTo>
                          <a:pt x="695" y="452"/>
                        </a:lnTo>
                        <a:lnTo>
                          <a:pt x="695" y="452"/>
                        </a:lnTo>
                        <a:lnTo>
                          <a:pt x="693" y="452"/>
                        </a:lnTo>
                        <a:lnTo>
                          <a:pt x="686" y="447"/>
                        </a:lnTo>
                        <a:lnTo>
                          <a:pt x="684" y="447"/>
                        </a:lnTo>
                        <a:lnTo>
                          <a:pt x="684" y="447"/>
                        </a:lnTo>
                        <a:lnTo>
                          <a:pt x="681" y="444"/>
                        </a:lnTo>
                        <a:lnTo>
                          <a:pt x="681" y="442"/>
                        </a:lnTo>
                        <a:lnTo>
                          <a:pt x="679" y="440"/>
                        </a:lnTo>
                        <a:lnTo>
                          <a:pt x="676" y="423"/>
                        </a:lnTo>
                        <a:lnTo>
                          <a:pt x="674" y="423"/>
                        </a:lnTo>
                        <a:lnTo>
                          <a:pt x="672" y="421"/>
                        </a:lnTo>
                        <a:lnTo>
                          <a:pt x="672" y="418"/>
                        </a:lnTo>
                        <a:lnTo>
                          <a:pt x="669" y="418"/>
                        </a:lnTo>
                        <a:lnTo>
                          <a:pt x="667" y="418"/>
                        </a:lnTo>
                        <a:lnTo>
                          <a:pt x="667" y="416"/>
                        </a:lnTo>
                        <a:lnTo>
                          <a:pt x="662" y="418"/>
                        </a:lnTo>
                        <a:lnTo>
                          <a:pt x="660" y="418"/>
                        </a:lnTo>
                        <a:lnTo>
                          <a:pt x="660" y="418"/>
                        </a:lnTo>
                        <a:lnTo>
                          <a:pt x="658" y="416"/>
                        </a:lnTo>
                        <a:lnTo>
                          <a:pt x="650" y="411"/>
                        </a:lnTo>
                        <a:lnTo>
                          <a:pt x="648" y="409"/>
                        </a:lnTo>
                        <a:lnTo>
                          <a:pt x="646" y="407"/>
                        </a:lnTo>
                        <a:lnTo>
                          <a:pt x="643" y="407"/>
                        </a:lnTo>
                        <a:lnTo>
                          <a:pt x="641" y="407"/>
                        </a:lnTo>
                        <a:lnTo>
                          <a:pt x="641" y="407"/>
                        </a:lnTo>
                        <a:lnTo>
                          <a:pt x="639" y="407"/>
                        </a:lnTo>
                        <a:lnTo>
                          <a:pt x="636" y="407"/>
                        </a:lnTo>
                        <a:lnTo>
                          <a:pt x="634" y="404"/>
                        </a:lnTo>
                        <a:lnTo>
                          <a:pt x="629" y="397"/>
                        </a:lnTo>
                        <a:lnTo>
                          <a:pt x="627" y="395"/>
                        </a:lnTo>
                        <a:lnTo>
                          <a:pt x="624" y="395"/>
                        </a:lnTo>
                        <a:lnTo>
                          <a:pt x="622" y="392"/>
                        </a:lnTo>
                        <a:lnTo>
                          <a:pt x="620" y="390"/>
                        </a:lnTo>
                        <a:lnTo>
                          <a:pt x="617" y="390"/>
                        </a:lnTo>
                        <a:lnTo>
                          <a:pt x="615" y="388"/>
                        </a:lnTo>
                        <a:lnTo>
                          <a:pt x="613" y="385"/>
                        </a:lnTo>
                        <a:lnTo>
                          <a:pt x="613" y="385"/>
                        </a:lnTo>
                        <a:lnTo>
                          <a:pt x="613" y="383"/>
                        </a:lnTo>
                        <a:lnTo>
                          <a:pt x="613" y="381"/>
                        </a:lnTo>
                        <a:lnTo>
                          <a:pt x="613" y="381"/>
                        </a:lnTo>
                        <a:lnTo>
                          <a:pt x="613" y="376"/>
                        </a:lnTo>
                        <a:lnTo>
                          <a:pt x="613" y="373"/>
                        </a:lnTo>
                        <a:lnTo>
                          <a:pt x="613" y="371"/>
                        </a:lnTo>
                        <a:lnTo>
                          <a:pt x="601" y="355"/>
                        </a:lnTo>
                        <a:lnTo>
                          <a:pt x="601" y="352"/>
                        </a:lnTo>
                        <a:lnTo>
                          <a:pt x="596" y="350"/>
                        </a:lnTo>
                        <a:lnTo>
                          <a:pt x="591" y="347"/>
                        </a:lnTo>
                        <a:lnTo>
                          <a:pt x="589" y="345"/>
                        </a:lnTo>
                        <a:lnTo>
                          <a:pt x="587" y="345"/>
                        </a:lnTo>
                        <a:lnTo>
                          <a:pt x="582" y="345"/>
                        </a:lnTo>
                        <a:lnTo>
                          <a:pt x="579" y="345"/>
                        </a:lnTo>
                        <a:lnTo>
                          <a:pt x="577" y="343"/>
                        </a:lnTo>
                        <a:lnTo>
                          <a:pt x="577" y="343"/>
                        </a:lnTo>
                        <a:lnTo>
                          <a:pt x="575" y="340"/>
                        </a:lnTo>
                        <a:lnTo>
                          <a:pt x="575" y="340"/>
                        </a:lnTo>
                        <a:lnTo>
                          <a:pt x="575" y="338"/>
                        </a:lnTo>
                        <a:lnTo>
                          <a:pt x="577" y="338"/>
                        </a:lnTo>
                        <a:lnTo>
                          <a:pt x="577" y="336"/>
                        </a:lnTo>
                        <a:lnTo>
                          <a:pt x="579" y="328"/>
                        </a:lnTo>
                        <a:lnTo>
                          <a:pt x="579" y="328"/>
                        </a:lnTo>
                        <a:lnTo>
                          <a:pt x="582" y="326"/>
                        </a:lnTo>
                        <a:lnTo>
                          <a:pt x="584" y="324"/>
                        </a:lnTo>
                        <a:lnTo>
                          <a:pt x="584" y="324"/>
                        </a:lnTo>
                        <a:lnTo>
                          <a:pt x="587" y="321"/>
                        </a:lnTo>
                        <a:lnTo>
                          <a:pt x="587" y="319"/>
                        </a:lnTo>
                        <a:lnTo>
                          <a:pt x="587" y="317"/>
                        </a:lnTo>
                        <a:lnTo>
                          <a:pt x="584" y="314"/>
                        </a:lnTo>
                        <a:lnTo>
                          <a:pt x="584" y="314"/>
                        </a:lnTo>
                        <a:lnTo>
                          <a:pt x="582" y="314"/>
                        </a:lnTo>
                        <a:lnTo>
                          <a:pt x="577" y="314"/>
                        </a:lnTo>
                        <a:lnTo>
                          <a:pt x="575" y="314"/>
                        </a:lnTo>
                        <a:lnTo>
                          <a:pt x="568" y="312"/>
                        </a:lnTo>
                        <a:lnTo>
                          <a:pt x="565" y="310"/>
                        </a:lnTo>
                        <a:lnTo>
                          <a:pt x="561" y="305"/>
                        </a:lnTo>
                        <a:lnTo>
                          <a:pt x="561" y="305"/>
                        </a:lnTo>
                        <a:lnTo>
                          <a:pt x="558" y="302"/>
                        </a:lnTo>
                        <a:lnTo>
                          <a:pt x="553" y="300"/>
                        </a:lnTo>
                        <a:lnTo>
                          <a:pt x="551" y="300"/>
                        </a:lnTo>
                        <a:lnTo>
                          <a:pt x="549" y="298"/>
                        </a:lnTo>
                        <a:lnTo>
                          <a:pt x="546" y="293"/>
                        </a:lnTo>
                        <a:lnTo>
                          <a:pt x="544" y="291"/>
                        </a:lnTo>
                        <a:lnTo>
                          <a:pt x="544" y="288"/>
                        </a:lnTo>
                        <a:lnTo>
                          <a:pt x="542" y="276"/>
                        </a:lnTo>
                        <a:lnTo>
                          <a:pt x="539" y="274"/>
                        </a:lnTo>
                        <a:lnTo>
                          <a:pt x="539" y="272"/>
                        </a:lnTo>
                        <a:lnTo>
                          <a:pt x="539" y="269"/>
                        </a:lnTo>
                        <a:lnTo>
                          <a:pt x="537" y="269"/>
                        </a:lnTo>
                        <a:lnTo>
                          <a:pt x="537" y="267"/>
                        </a:lnTo>
                        <a:lnTo>
                          <a:pt x="537" y="267"/>
                        </a:lnTo>
                        <a:lnTo>
                          <a:pt x="537" y="265"/>
                        </a:lnTo>
                        <a:lnTo>
                          <a:pt x="537" y="265"/>
                        </a:lnTo>
                        <a:lnTo>
                          <a:pt x="537" y="262"/>
                        </a:lnTo>
                        <a:lnTo>
                          <a:pt x="534" y="262"/>
                        </a:lnTo>
                        <a:lnTo>
                          <a:pt x="534" y="262"/>
                        </a:lnTo>
                        <a:lnTo>
                          <a:pt x="527" y="257"/>
                        </a:lnTo>
                        <a:lnTo>
                          <a:pt x="532" y="250"/>
                        </a:lnTo>
                        <a:lnTo>
                          <a:pt x="532" y="246"/>
                        </a:lnTo>
                        <a:lnTo>
                          <a:pt x="532" y="246"/>
                        </a:lnTo>
                        <a:lnTo>
                          <a:pt x="532" y="241"/>
                        </a:lnTo>
                        <a:lnTo>
                          <a:pt x="530" y="239"/>
                        </a:lnTo>
                        <a:lnTo>
                          <a:pt x="530" y="234"/>
                        </a:lnTo>
                        <a:lnTo>
                          <a:pt x="530" y="229"/>
                        </a:lnTo>
                        <a:lnTo>
                          <a:pt x="530" y="222"/>
                        </a:lnTo>
                        <a:lnTo>
                          <a:pt x="561" y="215"/>
                        </a:lnTo>
                        <a:lnTo>
                          <a:pt x="568" y="213"/>
                        </a:lnTo>
                        <a:lnTo>
                          <a:pt x="577" y="203"/>
                        </a:lnTo>
                        <a:lnTo>
                          <a:pt x="579" y="198"/>
                        </a:lnTo>
                        <a:lnTo>
                          <a:pt x="582" y="194"/>
                        </a:lnTo>
                        <a:lnTo>
                          <a:pt x="582" y="182"/>
                        </a:lnTo>
                        <a:lnTo>
                          <a:pt x="587" y="170"/>
                        </a:lnTo>
                        <a:lnTo>
                          <a:pt x="587" y="163"/>
                        </a:lnTo>
                        <a:lnTo>
                          <a:pt x="584" y="156"/>
                        </a:lnTo>
                        <a:lnTo>
                          <a:pt x="577" y="146"/>
                        </a:lnTo>
                        <a:lnTo>
                          <a:pt x="544" y="142"/>
                        </a:lnTo>
                        <a:lnTo>
                          <a:pt x="532" y="137"/>
                        </a:lnTo>
                        <a:lnTo>
                          <a:pt x="527" y="134"/>
                        </a:lnTo>
                        <a:lnTo>
                          <a:pt x="527" y="134"/>
                        </a:lnTo>
                        <a:lnTo>
                          <a:pt x="525" y="134"/>
                        </a:lnTo>
                        <a:lnTo>
                          <a:pt x="525" y="134"/>
                        </a:lnTo>
                        <a:lnTo>
                          <a:pt x="523" y="137"/>
                        </a:lnTo>
                        <a:lnTo>
                          <a:pt x="520" y="139"/>
                        </a:lnTo>
                        <a:lnTo>
                          <a:pt x="490" y="142"/>
                        </a:lnTo>
                        <a:lnTo>
                          <a:pt x="487" y="142"/>
                        </a:lnTo>
                        <a:lnTo>
                          <a:pt x="485" y="142"/>
                        </a:lnTo>
                        <a:lnTo>
                          <a:pt x="480" y="137"/>
                        </a:lnTo>
                        <a:lnTo>
                          <a:pt x="480" y="134"/>
                        </a:lnTo>
                        <a:lnTo>
                          <a:pt x="478" y="134"/>
                        </a:lnTo>
                        <a:lnTo>
                          <a:pt x="461" y="127"/>
                        </a:lnTo>
                        <a:lnTo>
                          <a:pt x="459" y="127"/>
                        </a:lnTo>
                        <a:lnTo>
                          <a:pt x="459" y="125"/>
                        </a:lnTo>
                        <a:lnTo>
                          <a:pt x="459" y="125"/>
                        </a:lnTo>
                        <a:lnTo>
                          <a:pt x="459" y="123"/>
                        </a:lnTo>
                        <a:lnTo>
                          <a:pt x="459" y="120"/>
                        </a:lnTo>
                        <a:lnTo>
                          <a:pt x="466" y="108"/>
                        </a:lnTo>
                        <a:lnTo>
                          <a:pt x="468" y="106"/>
                        </a:lnTo>
                        <a:lnTo>
                          <a:pt x="471" y="104"/>
                        </a:lnTo>
                        <a:lnTo>
                          <a:pt x="471" y="101"/>
                        </a:lnTo>
                        <a:lnTo>
                          <a:pt x="471" y="101"/>
                        </a:lnTo>
                        <a:lnTo>
                          <a:pt x="471" y="99"/>
                        </a:lnTo>
                        <a:lnTo>
                          <a:pt x="471" y="97"/>
                        </a:lnTo>
                        <a:lnTo>
                          <a:pt x="468" y="94"/>
                        </a:lnTo>
                        <a:lnTo>
                          <a:pt x="468" y="94"/>
                        </a:lnTo>
                        <a:lnTo>
                          <a:pt x="468" y="92"/>
                        </a:lnTo>
                        <a:lnTo>
                          <a:pt x="471" y="90"/>
                        </a:lnTo>
                        <a:lnTo>
                          <a:pt x="473" y="90"/>
                        </a:lnTo>
                        <a:lnTo>
                          <a:pt x="473" y="87"/>
                        </a:lnTo>
                        <a:lnTo>
                          <a:pt x="473" y="87"/>
                        </a:lnTo>
                        <a:lnTo>
                          <a:pt x="473" y="85"/>
                        </a:lnTo>
                        <a:lnTo>
                          <a:pt x="471" y="82"/>
                        </a:lnTo>
                        <a:lnTo>
                          <a:pt x="468" y="80"/>
                        </a:lnTo>
                        <a:lnTo>
                          <a:pt x="466" y="78"/>
                        </a:lnTo>
                        <a:lnTo>
                          <a:pt x="464" y="78"/>
                        </a:lnTo>
                        <a:lnTo>
                          <a:pt x="456" y="75"/>
                        </a:lnTo>
                        <a:lnTo>
                          <a:pt x="445" y="71"/>
                        </a:lnTo>
                        <a:lnTo>
                          <a:pt x="442" y="71"/>
                        </a:lnTo>
                        <a:lnTo>
                          <a:pt x="442" y="71"/>
                        </a:lnTo>
                        <a:lnTo>
                          <a:pt x="440" y="75"/>
                        </a:lnTo>
                        <a:lnTo>
                          <a:pt x="437" y="78"/>
                        </a:lnTo>
                        <a:lnTo>
                          <a:pt x="437" y="78"/>
                        </a:lnTo>
                        <a:lnTo>
                          <a:pt x="435" y="78"/>
                        </a:lnTo>
                        <a:lnTo>
                          <a:pt x="433" y="80"/>
                        </a:lnTo>
                        <a:lnTo>
                          <a:pt x="426" y="66"/>
                        </a:lnTo>
                        <a:lnTo>
                          <a:pt x="421" y="63"/>
                        </a:lnTo>
                        <a:lnTo>
                          <a:pt x="419" y="63"/>
                        </a:lnTo>
                        <a:lnTo>
                          <a:pt x="414" y="63"/>
                        </a:lnTo>
                        <a:lnTo>
                          <a:pt x="409" y="61"/>
                        </a:lnTo>
                        <a:lnTo>
                          <a:pt x="407" y="59"/>
                        </a:lnTo>
                        <a:lnTo>
                          <a:pt x="407" y="59"/>
                        </a:lnTo>
                        <a:lnTo>
                          <a:pt x="404" y="52"/>
                        </a:lnTo>
                        <a:lnTo>
                          <a:pt x="402" y="49"/>
                        </a:lnTo>
                        <a:lnTo>
                          <a:pt x="402" y="49"/>
                        </a:lnTo>
                        <a:lnTo>
                          <a:pt x="402" y="47"/>
                        </a:lnTo>
                        <a:lnTo>
                          <a:pt x="404" y="45"/>
                        </a:lnTo>
                        <a:lnTo>
                          <a:pt x="404" y="45"/>
                        </a:lnTo>
                        <a:lnTo>
                          <a:pt x="404" y="45"/>
                        </a:lnTo>
                        <a:lnTo>
                          <a:pt x="407" y="42"/>
                        </a:lnTo>
                        <a:lnTo>
                          <a:pt x="407" y="40"/>
                        </a:lnTo>
                        <a:lnTo>
                          <a:pt x="407" y="40"/>
                        </a:lnTo>
                        <a:lnTo>
                          <a:pt x="407" y="37"/>
                        </a:lnTo>
                        <a:lnTo>
                          <a:pt x="407" y="37"/>
                        </a:lnTo>
                        <a:lnTo>
                          <a:pt x="409" y="35"/>
                        </a:lnTo>
                        <a:lnTo>
                          <a:pt x="411" y="35"/>
                        </a:lnTo>
                        <a:lnTo>
                          <a:pt x="411" y="33"/>
                        </a:lnTo>
                        <a:lnTo>
                          <a:pt x="411" y="30"/>
                        </a:lnTo>
                        <a:lnTo>
                          <a:pt x="409" y="21"/>
                        </a:lnTo>
                        <a:lnTo>
                          <a:pt x="407" y="19"/>
                        </a:lnTo>
                        <a:lnTo>
                          <a:pt x="404" y="16"/>
                        </a:lnTo>
                        <a:lnTo>
                          <a:pt x="397" y="14"/>
                        </a:lnTo>
                        <a:lnTo>
                          <a:pt x="397" y="14"/>
                        </a:lnTo>
                        <a:lnTo>
                          <a:pt x="395" y="11"/>
                        </a:lnTo>
                        <a:lnTo>
                          <a:pt x="390" y="7"/>
                        </a:lnTo>
                        <a:lnTo>
                          <a:pt x="388" y="4"/>
                        </a:lnTo>
                        <a:lnTo>
                          <a:pt x="383" y="4"/>
                        </a:lnTo>
                        <a:lnTo>
                          <a:pt x="374" y="2"/>
                        </a:lnTo>
                        <a:lnTo>
                          <a:pt x="371" y="0"/>
                        </a:lnTo>
                        <a:lnTo>
                          <a:pt x="355" y="16"/>
                        </a:lnTo>
                        <a:lnTo>
                          <a:pt x="352" y="19"/>
                        </a:lnTo>
                        <a:lnTo>
                          <a:pt x="350" y="19"/>
                        </a:lnTo>
                        <a:lnTo>
                          <a:pt x="338" y="23"/>
                        </a:lnTo>
                        <a:lnTo>
                          <a:pt x="331" y="30"/>
                        </a:lnTo>
                        <a:lnTo>
                          <a:pt x="324" y="35"/>
                        </a:lnTo>
                        <a:lnTo>
                          <a:pt x="322" y="35"/>
                        </a:lnTo>
                        <a:lnTo>
                          <a:pt x="319" y="33"/>
                        </a:lnTo>
                        <a:lnTo>
                          <a:pt x="317" y="33"/>
                        </a:lnTo>
                        <a:lnTo>
                          <a:pt x="314" y="30"/>
                        </a:lnTo>
                        <a:lnTo>
                          <a:pt x="312" y="30"/>
                        </a:lnTo>
                        <a:lnTo>
                          <a:pt x="312" y="28"/>
                        </a:lnTo>
                        <a:lnTo>
                          <a:pt x="310" y="28"/>
                        </a:lnTo>
                        <a:lnTo>
                          <a:pt x="307" y="28"/>
                        </a:lnTo>
                        <a:lnTo>
                          <a:pt x="307" y="30"/>
                        </a:lnTo>
                        <a:lnTo>
                          <a:pt x="305" y="30"/>
                        </a:lnTo>
                        <a:lnTo>
                          <a:pt x="305" y="33"/>
                        </a:lnTo>
                        <a:lnTo>
                          <a:pt x="305" y="37"/>
                        </a:lnTo>
                        <a:lnTo>
                          <a:pt x="305" y="40"/>
                        </a:lnTo>
                        <a:lnTo>
                          <a:pt x="303" y="42"/>
                        </a:lnTo>
                        <a:lnTo>
                          <a:pt x="300" y="45"/>
                        </a:lnTo>
                        <a:lnTo>
                          <a:pt x="298" y="47"/>
                        </a:lnTo>
                        <a:lnTo>
                          <a:pt x="296" y="47"/>
                        </a:lnTo>
                        <a:lnTo>
                          <a:pt x="274" y="52"/>
                        </a:lnTo>
                        <a:lnTo>
                          <a:pt x="272" y="54"/>
                        </a:lnTo>
                        <a:lnTo>
                          <a:pt x="272" y="54"/>
                        </a:lnTo>
                        <a:lnTo>
                          <a:pt x="270" y="56"/>
                        </a:lnTo>
                        <a:lnTo>
                          <a:pt x="258" y="68"/>
                        </a:lnTo>
                        <a:lnTo>
                          <a:pt x="255" y="71"/>
                        </a:lnTo>
                        <a:lnTo>
                          <a:pt x="253" y="71"/>
                        </a:lnTo>
                        <a:lnTo>
                          <a:pt x="251" y="71"/>
                        </a:lnTo>
                        <a:lnTo>
                          <a:pt x="251" y="71"/>
                        </a:lnTo>
                        <a:lnTo>
                          <a:pt x="248" y="71"/>
                        </a:lnTo>
                        <a:lnTo>
                          <a:pt x="248" y="68"/>
                        </a:lnTo>
                        <a:lnTo>
                          <a:pt x="246" y="66"/>
                        </a:lnTo>
                        <a:lnTo>
                          <a:pt x="243" y="66"/>
                        </a:lnTo>
                        <a:lnTo>
                          <a:pt x="241" y="66"/>
                        </a:lnTo>
                        <a:lnTo>
                          <a:pt x="232" y="68"/>
                        </a:lnTo>
                        <a:lnTo>
                          <a:pt x="222" y="68"/>
                        </a:lnTo>
                        <a:lnTo>
                          <a:pt x="217" y="63"/>
                        </a:lnTo>
                        <a:lnTo>
                          <a:pt x="215" y="59"/>
                        </a:lnTo>
                        <a:lnTo>
                          <a:pt x="213" y="56"/>
                        </a:lnTo>
                        <a:lnTo>
                          <a:pt x="210" y="56"/>
                        </a:lnTo>
                        <a:lnTo>
                          <a:pt x="206" y="56"/>
                        </a:lnTo>
                        <a:lnTo>
                          <a:pt x="201" y="56"/>
                        </a:lnTo>
                        <a:lnTo>
                          <a:pt x="180" y="52"/>
                        </a:lnTo>
                        <a:lnTo>
                          <a:pt x="168" y="49"/>
                        </a:lnTo>
                        <a:lnTo>
                          <a:pt x="156" y="47"/>
                        </a:lnTo>
                        <a:lnTo>
                          <a:pt x="149" y="42"/>
                        </a:lnTo>
                        <a:lnTo>
                          <a:pt x="146" y="42"/>
                        </a:lnTo>
                        <a:lnTo>
                          <a:pt x="146" y="42"/>
                        </a:lnTo>
                        <a:lnTo>
                          <a:pt x="137" y="40"/>
                        </a:lnTo>
                        <a:lnTo>
                          <a:pt x="130" y="40"/>
                        </a:lnTo>
                        <a:lnTo>
                          <a:pt x="123" y="42"/>
                        </a:lnTo>
                        <a:lnTo>
                          <a:pt x="113" y="45"/>
                        </a:lnTo>
                        <a:lnTo>
                          <a:pt x="102" y="45"/>
                        </a:lnTo>
                        <a:lnTo>
                          <a:pt x="99" y="45"/>
                        </a:lnTo>
                        <a:lnTo>
                          <a:pt x="99" y="47"/>
                        </a:lnTo>
                        <a:lnTo>
                          <a:pt x="97" y="49"/>
                        </a:lnTo>
                        <a:lnTo>
                          <a:pt x="97" y="52"/>
                        </a:lnTo>
                        <a:lnTo>
                          <a:pt x="94" y="56"/>
                        </a:lnTo>
                        <a:lnTo>
                          <a:pt x="94" y="56"/>
                        </a:lnTo>
                        <a:lnTo>
                          <a:pt x="92" y="61"/>
                        </a:lnTo>
                        <a:lnTo>
                          <a:pt x="90" y="63"/>
                        </a:lnTo>
                        <a:lnTo>
                          <a:pt x="90" y="66"/>
                        </a:lnTo>
                        <a:lnTo>
                          <a:pt x="90" y="68"/>
                        </a:lnTo>
                        <a:lnTo>
                          <a:pt x="90" y="68"/>
                        </a:lnTo>
                        <a:lnTo>
                          <a:pt x="92" y="71"/>
                        </a:lnTo>
                        <a:lnTo>
                          <a:pt x="92" y="71"/>
                        </a:lnTo>
                        <a:lnTo>
                          <a:pt x="94" y="73"/>
                        </a:lnTo>
                        <a:lnTo>
                          <a:pt x="97" y="75"/>
                        </a:lnTo>
                        <a:lnTo>
                          <a:pt x="99" y="75"/>
                        </a:lnTo>
                        <a:lnTo>
                          <a:pt x="99" y="78"/>
                        </a:lnTo>
                        <a:lnTo>
                          <a:pt x="102" y="80"/>
                        </a:lnTo>
                        <a:lnTo>
                          <a:pt x="102" y="82"/>
                        </a:lnTo>
                        <a:lnTo>
                          <a:pt x="102" y="85"/>
                        </a:lnTo>
                        <a:lnTo>
                          <a:pt x="104" y="87"/>
                        </a:lnTo>
                        <a:lnTo>
                          <a:pt x="104" y="90"/>
                        </a:lnTo>
                        <a:lnTo>
                          <a:pt x="102" y="90"/>
                        </a:lnTo>
                        <a:lnTo>
                          <a:pt x="99" y="90"/>
                        </a:lnTo>
                        <a:lnTo>
                          <a:pt x="97" y="92"/>
                        </a:lnTo>
                        <a:lnTo>
                          <a:pt x="87" y="92"/>
                        </a:lnTo>
                        <a:lnTo>
                          <a:pt x="80" y="92"/>
                        </a:lnTo>
                        <a:lnTo>
                          <a:pt x="80" y="92"/>
                        </a:lnTo>
                        <a:lnTo>
                          <a:pt x="78" y="90"/>
                        </a:lnTo>
                        <a:lnTo>
                          <a:pt x="76" y="90"/>
                        </a:lnTo>
                        <a:lnTo>
                          <a:pt x="66" y="75"/>
                        </a:lnTo>
                        <a:lnTo>
                          <a:pt x="64" y="73"/>
                        </a:lnTo>
                        <a:lnTo>
                          <a:pt x="61" y="68"/>
                        </a:lnTo>
                        <a:lnTo>
                          <a:pt x="61" y="68"/>
                        </a:lnTo>
                        <a:lnTo>
                          <a:pt x="59" y="66"/>
                        </a:lnTo>
                        <a:lnTo>
                          <a:pt x="52" y="63"/>
                        </a:lnTo>
                        <a:lnTo>
                          <a:pt x="49" y="63"/>
                        </a:lnTo>
                        <a:lnTo>
                          <a:pt x="47" y="66"/>
                        </a:lnTo>
                        <a:lnTo>
                          <a:pt x="45" y="68"/>
                        </a:lnTo>
                        <a:lnTo>
                          <a:pt x="38" y="78"/>
                        </a:lnTo>
                        <a:lnTo>
                          <a:pt x="38" y="78"/>
                        </a:lnTo>
                        <a:lnTo>
                          <a:pt x="33" y="82"/>
                        </a:lnTo>
                        <a:lnTo>
                          <a:pt x="33" y="82"/>
                        </a:lnTo>
                        <a:lnTo>
                          <a:pt x="26" y="87"/>
                        </a:lnTo>
                        <a:lnTo>
                          <a:pt x="23" y="87"/>
                        </a:lnTo>
                        <a:lnTo>
                          <a:pt x="23" y="90"/>
                        </a:lnTo>
                        <a:lnTo>
                          <a:pt x="23" y="92"/>
                        </a:lnTo>
                        <a:lnTo>
                          <a:pt x="28" y="99"/>
                        </a:lnTo>
                        <a:lnTo>
                          <a:pt x="31" y="101"/>
                        </a:lnTo>
                        <a:lnTo>
                          <a:pt x="31" y="104"/>
                        </a:lnTo>
                        <a:lnTo>
                          <a:pt x="31" y="106"/>
                        </a:lnTo>
                        <a:lnTo>
                          <a:pt x="31" y="116"/>
                        </a:lnTo>
                        <a:lnTo>
                          <a:pt x="33" y="125"/>
                        </a:lnTo>
                        <a:lnTo>
                          <a:pt x="33" y="132"/>
                        </a:lnTo>
                        <a:lnTo>
                          <a:pt x="33" y="137"/>
                        </a:lnTo>
                        <a:lnTo>
                          <a:pt x="33" y="139"/>
                        </a:lnTo>
                        <a:lnTo>
                          <a:pt x="33" y="139"/>
                        </a:lnTo>
                        <a:lnTo>
                          <a:pt x="33" y="142"/>
                        </a:lnTo>
                        <a:lnTo>
                          <a:pt x="33" y="144"/>
                        </a:lnTo>
                        <a:lnTo>
                          <a:pt x="31" y="144"/>
                        </a:lnTo>
                        <a:lnTo>
                          <a:pt x="28" y="146"/>
                        </a:lnTo>
                        <a:lnTo>
                          <a:pt x="26" y="149"/>
                        </a:lnTo>
                        <a:lnTo>
                          <a:pt x="23" y="149"/>
                        </a:lnTo>
                        <a:lnTo>
                          <a:pt x="21" y="151"/>
                        </a:lnTo>
                        <a:lnTo>
                          <a:pt x="21" y="153"/>
                        </a:lnTo>
                        <a:lnTo>
                          <a:pt x="19" y="156"/>
                        </a:lnTo>
                        <a:lnTo>
                          <a:pt x="19" y="158"/>
                        </a:lnTo>
                        <a:lnTo>
                          <a:pt x="19" y="160"/>
                        </a:lnTo>
                        <a:lnTo>
                          <a:pt x="19" y="163"/>
                        </a:lnTo>
                        <a:lnTo>
                          <a:pt x="19" y="163"/>
                        </a:lnTo>
                        <a:lnTo>
                          <a:pt x="7" y="168"/>
                        </a:lnTo>
                        <a:lnTo>
                          <a:pt x="5" y="170"/>
                        </a:lnTo>
                        <a:lnTo>
                          <a:pt x="0" y="175"/>
                        </a:lnTo>
                        <a:lnTo>
                          <a:pt x="14" y="187"/>
                        </a:lnTo>
                        <a:lnTo>
                          <a:pt x="52" y="222"/>
                        </a:lnTo>
                        <a:lnTo>
                          <a:pt x="64" y="236"/>
                        </a:lnTo>
                        <a:lnTo>
                          <a:pt x="64" y="241"/>
                        </a:lnTo>
                        <a:lnTo>
                          <a:pt x="66" y="250"/>
                        </a:lnTo>
                        <a:lnTo>
                          <a:pt x="68" y="255"/>
                        </a:lnTo>
                        <a:lnTo>
                          <a:pt x="73" y="257"/>
                        </a:lnTo>
                        <a:lnTo>
                          <a:pt x="85" y="262"/>
                        </a:lnTo>
                        <a:lnTo>
                          <a:pt x="118" y="310"/>
                        </a:lnTo>
                        <a:lnTo>
                          <a:pt x="123" y="326"/>
                        </a:lnTo>
                        <a:lnTo>
                          <a:pt x="123" y="343"/>
                        </a:lnTo>
                        <a:lnTo>
                          <a:pt x="135" y="345"/>
                        </a:lnTo>
                        <a:lnTo>
                          <a:pt x="137" y="345"/>
                        </a:lnTo>
                        <a:lnTo>
                          <a:pt x="135" y="340"/>
                        </a:lnTo>
                        <a:lnTo>
                          <a:pt x="132" y="336"/>
                        </a:lnTo>
                        <a:lnTo>
                          <a:pt x="132" y="331"/>
                        </a:lnTo>
                        <a:lnTo>
                          <a:pt x="132" y="326"/>
                        </a:lnTo>
                        <a:lnTo>
                          <a:pt x="137" y="324"/>
                        </a:lnTo>
                        <a:lnTo>
                          <a:pt x="142" y="326"/>
                        </a:lnTo>
                        <a:lnTo>
                          <a:pt x="165" y="333"/>
                        </a:lnTo>
                        <a:lnTo>
                          <a:pt x="173" y="331"/>
                        </a:lnTo>
                        <a:lnTo>
                          <a:pt x="175" y="324"/>
                        </a:lnTo>
                        <a:lnTo>
                          <a:pt x="177" y="319"/>
                        </a:lnTo>
                        <a:lnTo>
                          <a:pt x="184" y="314"/>
                        </a:lnTo>
                        <a:lnTo>
                          <a:pt x="194" y="312"/>
                        </a:lnTo>
                        <a:lnTo>
                          <a:pt x="199" y="312"/>
                        </a:lnTo>
                        <a:lnTo>
                          <a:pt x="206" y="314"/>
                        </a:lnTo>
                        <a:lnTo>
                          <a:pt x="220" y="326"/>
                        </a:lnTo>
                        <a:lnTo>
                          <a:pt x="225" y="326"/>
                        </a:lnTo>
                        <a:lnTo>
                          <a:pt x="227" y="328"/>
                        </a:lnTo>
                        <a:lnTo>
                          <a:pt x="232" y="333"/>
                        </a:lnTo>
                        <a:lnTo>
                          <a:pt x="234" y="336"/>
                        </a:lnTo>
                        <a:lnTo>
                          <a:pt x="236" y="336"/>
                        </a:lnTo>
                        <a:lnTo>
                          <a:pt x="241" y="336"/>
                        </a:lnTo>
                        <a:lnTo>
                          <a:pt x="246" y="336"/>
                        </a:lnTo>
                        <a:lnTo>
                          <a:pt x="251" y="338"/>
                        </a:lnTo>
                        <a:lnTo>
                          <a:pt x="258" y="340"/>
                        </a:lnTo>
                        <a:lnTo>
                          <a:pt x="262" y="347"/>
                        </a:lnTo>
                        <a:lnTo>
                          <a:pt x="265" y="355"/>
                        </a:lnTo>
                        <a:lnTo>
                          <a:pt x="265" y="359"/>
                        </a:lnTo>
                        <a:lnTo>
                          <a:pt x="246" y="381"/>
                        </a:lnTo>
                        <a:lnTo>
                          <a:pt x="243" y="385"/>
                        </a:lnTo>
                        <a:lnTo>
                          <a:pt x="241" y="390"/>
                        </a:lnTo>
                        <a:lnTo>
                          <a:pt x="239" y="392"/>
                        </a:lnTo>
                        <a:lnTo>
                          <a:pt x="234" y="395"/>
                        </a:lnTo>
                        <a:lnTo>
                          <a:pt x="227" y="399"/>
                        </a:lnTo>
                        <a:lnTo>
                          <a:pt x="225" y="407"/>
                        </a:lnTo>
                        <a:lnTo>
                          <a:pt x="227" y="416"/>
                        </a:lnTo>
                        <a:lnTo>
                          <a:pt x="232" y="421"/>
                        </a:lnTo>
                        <a:lnTo>
                          <a:pt x="236" y="414"/>
                        </a:lnTo>
                        <a:lnTo>
                          <a:pt x="248" y="404"/>
                        </a:lnTo>
                        <a:lnTo>
                          <a:pt x="255" y="397"/>
                        </a:lnTo>
                        <a:lnTo>
                          <a:pt x="270" y="390"/>
                        </a:lnTo>
                        <a:lnTo>
                          <a:pt x="274" y="388"/>
                        </a:lnTo>
                        <a:lnTo>
                          <a:pt x="284" y="390"/>
                        </a:lnTo>
                        <a:lnTo>
                          <a:pt x="293" y="392"/>
                        </a:lnTo>
                        <a:lnTo>
                          <a:pt x="300" y="388"/>
                        </a:lnTo>
                        <a:lnTo>
                          <a:pt x="312" y="373"/>
                        </a:lnTo>
                        <a:lnTo>
                          <a:pt x="317" y="371"/>
                        </a:lnTo>
                        <a:lnTo>
                          <a:pt x="333" y="369"/>
                        </a:lnTo>
                        <a:lnTo>
                          <a:pt x="336" y="369"/>
                        </a:lnTo>
                        <a:lnTo>
                          <a:pt x="345" y="359"/>
                        </a:lnTo>
                        <a:lnTo>
                          <a:pt x="355" y="352"/>
                        </a:lnTo>
                        <a:lnTo>
                          <a:pt x="364" y="355"/>
                        </a:lnTo>
                        <a:lnTo>
                          <a:pt x="374" y="359"/>
                        </a:lnTo>
                        <a:lnTo>
                          <a:pt x="383" y="366"/>
                        </a:lnTo>
                        <a:lnTo>
                          <a:pt x="393" y="376"/>
                        </a:lnTo>
                        <a:lnTo>
                          <a:pt x="404" y="388"/>
                        </a:lnTo>
                        <a:lnTo>
                          <a:pt x="442" y="442"/>
                        </a:lnTo>
                        <a:lnTo>
                          <a:pt x="449" y="456"/>
                        </a:lnTo>
                        <a:lnTo>
                          <a:pt x="447" y="473"/>
                        </a:lnTo>
                        <a:lnTo>
                          <a:pt x="447" y="475"/>
                        </a:lnTo>
                        <a:lnTo>
                          <a:pt x="445" y="480"/>
                        </a:lnTo>
                        <a:lnTo>
                          <a:pt x="440" y="482"/>
                        </a:lnTo>
                        <a:lnTo>
                          <a:pt x="437" y="485"/>
                        </a:lnTo>
                        <a:lnTo>
                          <a:pt x="435" y="487"/>
                        </a:lnTo>
                        <a:lnTo>
                          <a:pt x="435" y="489"/>
                        </a:lnTo>
                        <a:lnTo>
                          <a:pt x="437" y="496"/>
                        </a:lnTo>
                        <a:lnTo>
                          <a:pt x="437" y="506"/>
                        </a:lnTo>
                        <a:lnTo>
                          <a:pt x="433" y="520"/>
                        </a:lnTo>
                        <a:lnTo>
                          <a:pt x="435" y="525"/>
                        </a:lnTo>
                        <a:lnTo>
                          <a:pt x="437" y="527"/>
                        </a:lnTo>
                        <a:lnTo>
                          <a:pt x="449" y="527"/>
                        </a:lnTo>
                        <a:lnTo>
                          <a:pt x="454" y="530"/>
                        </a:lnTo>
                        <a:lnTo>
                          <a:pt x="456" y="530"/>
                        </a:lnTo>
                        <a:lnTo>
                          <a:pt x="471" y="539"/>
                        </a:lnTo>
                        <a:lnTo>
                          <a:pt x="478" y="546"/>
                        </a:lnTo>
                        <a:lnTo>
                          <a:pt x="482" y="549"/>
                        </a:lnTo>
                        <a:lnTo>
                          <a:pt x="490" y="549"/>
                        </a:lnTo>
                        <a:lnTo>
                          <a:pt x="497" y="544"/>
                        </a:lnTo>
                        <a:lnTo>
                          <a:pt x="504" y="541"/>
                        </a:lnTo>
                        <a:lnTo>
                          <a:pt x="508" y="544"/>
                        </a:lnTo>
                        <a:lnTo>
                          <a:pt x="532" y="560"/>
                        </a:lnTo>
                        <a:lnTo>
                          <a:pt x="537" y="563"/>
                        </a:lnTo>
                        <a:lnTo>
                          <a:pt x="546" y="565"/>
                        </a:lnTo>
                        <a:lnTo>
                          <a:pt x="558" y="575"/>
                        </a:lnTo>
                        <a:lnTo>
                          <a:pt x="565" y="584"/>
                        </a:lnTo>
                        <a:lnTo>
                          <a:pt x="561" y="591"/>
                        </a:lnTo>
                        <a:lnTo>
                          <a:pt x="561" y="593"/>
                        </a:lnTo>
                        <a:lnTo>
                          <a:pt x="563" y="593"/>
                        </a:lnTo>
                        <a:lnTo>
                          <a:pt x="568" y="591"/>
                        </a:lnTo>
                        <a:lnTo>
                          <a:pt x="570" y="591"/>
                        </a:lnTo>
                        <a:lnTo>
                          <a:pt x="572" y="589"/>
                        </a:lnTo>
                        <a:lnTo>
                          <a:pt x="577" y="589"/>
                        </a:lnTo>
                        <a:lnTo>
                          <a:pt x="591" y="596"/>
                        </a:lnTo>
                        <a:lnTo>
                          <a:pt x="598" y="598"/>
                        </a:lnTo>
                        <a:lnTo>
                          <a:pt x="608" y="598"/>
                        </a:lnTo>
                        <a:lnTo>
                          <a:pt x="613" y="593"/>
                        </a:lnTo>
                        <a:lnTo>
                          <a:pt x="622" y="582"/>
                        </a:lnTo>
                        <a:lnTo>
                          <a:pt x="631" y="567"/>
                        </a:lnTo>
                        <a:lnTo>
                          <a:pt x="636" y="560"/>
                        </a:lnTo>
                        <a:lnTo>
                          <a:pt x="643" y="556"/>
                        </a:lnTo>
                        <a:lnTo>
                          <a:pt x="667" y="553"/>
                        </a:lnTo>
                        <a:lnTo>
                          <a:pt x="672" y="551"/>
                        </a:lnTo>
                        <a:lnTo>
                          <a:pt x="672" y="556"/>
                        </a:lnTo>
                        <a:lnTo>
                          <a:pt x="674" y="558"/>
                        </a:lnTo>
                        <a:lnTo>
                          <a:pt x="681" y="563"/>
                        </a:lnTo>
                        <a:lnTo>
                          <a:pt x="684" y="556"/>
                        </a:lnTo>
                        <a:lnTo>
                          <a:pt x="684" y="553"/>
                        </a:lnTo>
                        <a:close/>
                        <a:moveTo>
                          <a:pt x="68" y="376"/>
                        </a:moveTo>
                        <a:lnTo>
                          <a:pt x="68" y="376"/>
                        </a:lnTo>
                        <a:lnTo>
                          <a:pt x="73" y="373"/>
                        </a:lnTo>
                        <a:lnTo>
                          <a:pt x="71" y="371"/>
                        </a:lnTo>
                        <a:lnTo>
                          <a:pt x="68" y="366"/>
                        </a:lnTo>
                        <a:lnTo>
                          <a:pt x="76" y="366"/>
                        </a:lnTo>
                        <a:lnTo>
                          <a:pt x="97" y="369"/>
                        </a:lnTo>
                        <a:lnTo>
                          <a:pt x="104" y="373"/>
                        </a:lnTo>
                        <a:lnTo>
                          <a:pt x="102" y="376"/>
                        </a:lnTo>
                        <a:lnTo>
                          <a:pt x="102" y="378"/>
                        </a:lnTo>
                        <a:lnTo>
                          <a:pt x="104" y="381"/>
                        </a:lnTo>
                        <a:lnTo>
                          <a:pt x="102" y="383"/>
                        </a:lnTo>
                        <a:lnTo>
                          <a:pt x="99" y="388"/>
                        </a:lnTo>
                        <a:lnTo>
                          <a:pt x="94" y="388"/>
                        </a:lnTo>
                        <a:lnTo>
                          <a:pt x="90" y="388"/>
                        </a:lnTo>
                        <a:lnTo>
                          <a:pt x="85" y="390"/>
                        </a:lnTo>
                        <a:lnTo>
                          <a:pt x="83" y="395"/>
                        </a:lnTo>
                        <a:lnTo>
                          <a:pt x="78" y="392"/>
                        </a:lnTo>
                        <a:lnTo>
                          <a:pt x="71" y="390"/>
                        </a:lnTo>
                        <a:lnTo>
                          <a:pt x="68" y="388"/>
                        </a:lnTo>
                        <a:lnTo>
                          <a:pt x="68" y="378"/>
                        </a:lnTo>
                        <a:lnTo>
                          <a:pt x="68" y="376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32" name="Freeform 27">
                    <a:extLst>
                      <a:ext uri="{FF2B5EF4-FFF2-40B4-BE49-F238E27FC236}">
                        <a16:creationId xmlns:a16="http://schemas.microsoft.com/office/drawing/2014/main" id="{A3A20637-25BD-48AA-9351-CAD0116EF1D0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594063" y="3728078"/>
                    <a:ext cx="472134" cy="416797"/>
                  </a:xfrm>
                  <a:custGeom>
                    <a:avLst/>
                    <a:gdLst>
                      <a:gd name="T0" fmla="*/ 237 w 371"/>
                      <a:gd name="T1" fmla="*/ 5 h 329"/>
                      <a:gd name="T2" fmla="*/ 315 w 371"/>
                      <a:gd name="T3" fmla="*/ 28 h 329"/>
                      <a:gd name="T4" fmla="*/ 350 w 371"/>
                      <a:gd name="T5" fmla="*/ 43 h 329"/>
                      <a:gd name="T6" fmla="*/ 348 w 371"/>
                      <a:gd name="T7" fmla="*/ 80 h 329"/>
                      <a:gd name="T8" fmla="*/ 350 w 371"/>
                      <a:gd name="T9" fmla="*/ 102 h 329"/>
                      <a:gd name="T10" fmla="*/ 352 w 371"/>
                      <a:gd name="T11" fmla="*/ 118 h 329"/>
                      <a:gd name="T12" fmla="*/ 360 w 371"/>
                      <a:gd name="T13" fmla="*/ 133 h 329"/>
                      <a:gd name="T14" fmla="*/ 371 w 371"/>
                      <a:gd name="T15" fmla="*/ 135 h 329"/>
                      <a:gd name="T16" fmla="*/ 357 w 371"/>
                      <a:gd name="T17" fmla="*/ 149 h 329"/>
                      <a:gd name="T18" fmla="*/ 345 w 371"/>
                      <a:gd name="T19" fmla="*/ 166 h 329"/>
                      <a:gd name="T20" fmla="*/ 334 w 371"/>
                      <a:gd name="T21" fmla="*/ 180 h 329"/>
                      <a:gd name="T22" fmla="*/ 312 w 371"/>
                      <a:gd name="T23" fmla="*/ 177 h 329"/>
                      <a:gd name="T24" fmla="*/ 310 w 371"/>
                      <a:gd name="T25" fmla="*/ 194 h 329"/>
                      <a:gd name="T26" fmla="*/ 317 w 371"/>
                      <a:gd name="T27" fmla="*/ 222 h 329"/>
                      <a:gd name="T28" fmla="*/ 317 w 371"/>
                      <a:gd name="T29" fmla="*/ 256 h 329"/>
                      <a:gd name="T30" fmla="*/ 284 w 371"/>
                      <a:gd name="T31" fmla="*/ 270 h 329"/>
                      <a:gd name="T32" fmla="*/ 274 w 371"/>
                      <a:gd name="T33" fmla="*/ 267 h 329"/>
                      <a:gd name="T34" fmla="*/ 267 w 371"/>
                      <a:gd name="T35" fmla="*/ 282 h 329"/>
                      <a:gd name="T36" fmla="*/ 237 w 371"/>
                      <a:gd name="T37" fmla="*/ 293 h 329"/>
                      <a:gd name="T38" fmla="*/ 215 w 371"/>
                      <a:gd name="T39" fmla="*/ 308 h 329"/>
                      <a:gd name="T40" fmla="*/ 189 w 371"/>
                      <a:gd name="T41" fmla="*/ 305 h 329"/>
                      <a:gd name="T42" fmla="*/ 168 w 371"/>
                      <a:gd name="T43" fmla="*/ 293 h 329"/>
                      <a:gd name="T44" fmla="*/ 113 w 371"/>
                      <a:gd name="T45" fmla="*/ 279 h 329"/>
                      <a:gd name="T46" fmla="*/ 66 w 371"/>
                      <a:gd name="T47" fmla="*/ 282 h 329"/>
                      <a:gd name="T48" fmla="*/ 59 w 371"/>
                      <a:gd name="T49" fmla="*/ 298 h 329"/>
                      <a:gd name="T50" fmla="*/ 59 w 371"/>
                      <a:gd name="T51" fmla="*/ 308 h 329"/>
                      <a:gd name="T52" fmla="*/ 69 w 371"/>
                      <a:gd name="T53" fmla="*/ 319 h 329"/>
                      <a:gd name="T54" fmla="*/ 64 w 371"/>
                      <a:gd name="T55" fmla="*/ 329 h 329"/>
                      <a:gd name="T56" fmla="*/ 33 w 371"/>
                      <a:gd name="T57" fmla="*/ 312 h 329"/>
                      <a:gd name="T58" fmla="*/ 24 w 371"/>
                      <a:gd name="T59" fmla="*/ 293 h 329"/>
                      <a:gd name="T60" fmla="*/ 28 w 371"/>
                      <a:gd name="T61" fmla="*/ 279 h 329"/>
                      <a:gd name="T62" fmla="*/ 26 w 371"/>
                      <a:gd name="T63" fmla="*/ 260 h 329"/>
                      <a:gd name="T64" fmla="*/ 19 w 371"/>
                      <a:gd name="T65" fmla="*/ 237 h 329"/>
                      <a:gd name="T66" fmla="*/ 9 w 371"/>
                      <a:gd name="T67" fmla="*/ 220 h 329"/>
                      <a:gd name="T68" fmla="*/ 5 w 371"/>
                      <a:gd name="T69" fmla="*/ 208 h 329"/>
                      <a:gd name="T70" fmla="*/ 26 w 371"/>
                      <a:gd name="T71" fmla="*/ 199 h 329"/>
                      <a:gd name="T72" fmla="*/ 43 w 371"/>
                      <a:gd name="T73" fmla="*/ 187 h 329"/>
                      <a:gd name="T74" fmla="*/ 66 w 371"/>
                      <a:gd name="T75" fmla="*/ 166 h 329"/>
                      <a:gd name="T76" fmla="*/ 61 w 371"/>
                      <a:gd name="T77" fmla="*/ 159 h 329"/>
                      <a:gd name="T78" fmla="*/ 54 w 371"/>
                      <a:gd name="T79" fmla="*/ 149 h 329"/>
                      <a:gd name="T80" fmla="*/ 54 w 371"/>
                      <a:gd name="T81" fmla="*/ 135 h 329"/>
                      <a:gd name="T82" fmla="*/ 73 w 371"/>
                      <a:gd name="T83" fmla="*/ 116 h 329"/>
                      <a:gd name="T84" fmla="*/ 90 w 371"/>
                      <a:gd name="T85" fmla="*/ 102 h 329"/>
                      <a:gd name="T86" fmla="*/ 104 w 371"/>
                      <a:gd name="T87" fmla="*/ 111 h 329"/>
                      <a:gd name="T88" fmla="*/ 113 w 371"/>
                      <a:gd name="T89" fmla="*/ 114 h 329"/>
                      <a:gd name="T90" fmla="*/ 123 w 371"/>
                      <a:gd name="T91" fmla="*/ 111 h 329"/>
                      <a:gd name="T92" fmla="*/ 140 w 371"/>
                      <a:gd name="T93" fmla="*/ 123 h 329"/>
                      <a:gd name="T94" fmla="*/ 147 w 371"/>
                      <a:gd name="T95" fmla="*/ 137 h 329"/>
                      <a:gd name="T96" fmla="*/ 149 w 371"/>
                      <a:gd name="T97" fmla="*/ 149 h 329"/>
                      <a:gd name="T98" fmla="*/ 168 w 371"/>
                      <a:gd name="T99" fmla="*/ 135 h 329"/>
                      <a:gd name="T100" fmla="*/ 189 w 371"/>
                      <a:gd name="T101" fmla="*/ 90 h 329"/>
                      <a:gd name="T102" fmla="*/ 196 w 371"/>
                      <a:gd name="T103" fmla="*/ 66 h 329"/>
                      <a:gd name="T104" fmla="*/ 222 w 371"/>
                      <a:gd name="T105" fmla="*/ 26 h 329"/>
                      <a:gd name="T106" fmla="*/ 225 w 371"/>
                      <a:gd name="T107" fmla="*/ 9 h 3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371" h="329">
                        <a:moveTo>
                          <a:pt x="225" y="7"/>
                        </a:moveTo>
                        <a:lnTo>
                          <a:pt x="225" y="7"/>
                        </a:lnTo>
                        <a:lnTo>
                          <a:pt x="222" y="2"/>
                        </a:lnTo>
                        <a:lnTo>
                          <a:pt x="222" y="0"/>
                        </a:lnTo>
                        <a:lnTo>
                          <a:pt x="229" y="0"/>
                        </a:lnTo>
                        <a:lnTo>
                          <a:pt x="237" y="5"/>
                        </a:lnTo>
                        <a:lnTo>
                          <a:pt x="248" y="12"/>
                        </a:lnTo>
                        <a:lnTo>
                          <a:pt x="260" y="14"/>
                        </a:lnTo>
                        <a:lnTo>
                          <a:pt x="286" y="14"/>
                        </a:lnTo>
                        <a:lnTo>
                          <a:pt x="298" y="17"/>
                        </a:lnTo>
                        <a:lnTo>
                          <a:pt x="303" y="19"/>
                        </a:lnTo>
                        <a:lnTo>
                          <a:pt x="315" y="28"/>
                        </a:lnTo>
                        <a:lnTo>
                          <a:pt x="317" y="31"/>
                        </a:lnTo>
                        <a:lnTo>
                          <a:pt x="324" y="31"/>
                        </a:lnTo>
                        <a:lnTo>
                          <a:pt x="338" y="38"/>
                        </a:lnTo>
                        <a:lnTo>
                          <a:pt x="345" y="40"/>
                        </a:lnTo>
                        <a:lnTo>
                          <a:pt x="350" y="40"/>
                        </a:lnTo>
                        <a:lnTo>
                          <a:pt x="350" y="43"/>
                        </a:lnTo>
                        <a:lnTo>
                          <a:pt x="352" y="59"/>
                        </a:lnTo>
                        <a:lnTo>
                          <a:pt x="352" y="62"/>
                        </a:lnTo>
                        <a:lnTo>
                          <a:pt x="352" y="64"/>
                        </a:lnTo>
                        <a:lnTo>
                          <a:pt x="352" y="66"/>
                        </a:lnTo>
                        <a:lnTo>
                          <a:pt x="350" y="76"/>
                        </a:lnTo>
                        <a:lnTo>
                          <a:pt x="348" y="80"/>
                        </a:lnTo>
                        <a:lnTo>
                          <a:pt x="348" y="83"/>
                        </a:lnTo>
                        <a:lnTo>
                          <a:pt x="348" y="85"/>
                        </a:lnTo>
                        <a:lnTo>
                          <a:pt x="348" y="90"/>
                        </a:lnTo>
                        <a:lnTo>
                          <a:pt x="348" y="92"/>
                        </a:lnTo>
                        <a:lnTo>
                          <a:pt x="350" y="99"/>
                        </a:lnTo>
                        <a:lnTo>
                          <a:pt x="350" y="102"/>
                        </a:lnTo>
                        <a:lnTo>
                          <a:pt x="350" y="104"/>
                        </a:lnTo>
                        <a:lnTo>
                          <a:pt x="350" y="109"/>
                        </a:lnTo>
                        <a:lnTo>
                          <a:pt x="350" y="114"/>
                        </a:lnTo>
                        <a:lnTo>
                          <a:pt x="352" y="116"/>
                        </a:lnTo>
                        <a:lnTo>
                          <a:pt x="352" y="118"/>
                        </a:lnTo>
                        <a:lnTo>
                          <a:pt x="352" y="118"/>
                        </a:lnTo>
                        <a:lnTo>
                          <a:pt x="352" y="125"/>
                        </a:lnTo>
                        <a:lnTo>
                          <a:pt x="355" y="128"/>
                        </a:lnTo>
                        <a:lnTo>
                          <a:pt x="357" y="130"/>
                        </a:lnTo>
                        <a:lnTo>
                          <a:pt x="357" y="133"/>
                        </a:lnTo>
                        <a:lnTo>
                          <a:pt x="357" y="133"/>
                        </a:lnTo>
                        <a:lnTo>
                          <a:pt x="360" y="133"/>
                        </a:lnTo>
                        <a:lnTo>
                          <a:pt x="362" y="133"/>
                        </a:lnTo>
                        <a:lnTo>
                          <a:pt x="362" y="133"/>
                        </a:lnTo>
                        <a:lnTo>
                          <a:pt x="369" y="133"/>
                        </a:lnTo>
                        <a:lnTo>
                          <a:pt x="371" y="133"/>
                        </a:lnTo>
                        <a:lnTo>
                          <a:pt x="371" y="135"/>
                        </a:lnTo>
                        <a:lnTo>
                          <a:pt x="371" y="135"/>
                        </a:lnTo>
                        <a:lnTo>
                          <a:pt x="369" y="140"/>
                        </a:lnTo>
                        <a:lnTo>
                          <a:pt x="367" y="142"/>
                        </a:lnTo>
                        <a:lnTo>
                          <a:pt x="364" y="142"/>
                        </a:lnTo>
                        <a:lnTo>
                          <a:pt x="360" y="144"/>
                        </a:lnTo>
                        <a:lnTo>
                          <a:pt x="360" y="147"/>
                        </a:lnTo>
                        <a:lnTo>
                          <a:pt x="357" y="149"/>
                        </a:lnTo>
                        <a:lnTo>
                          <a:pt x="355" y="151"/>
                        </a:lnTo>
                        <a:lnTo>
                          <a:pt x="352" y="156"/>
                        </a:lnTo>
                        <a:lnTo>
                          <a:pt x="350" y="161"/>
                        </a:lnTo>
                        <a:lnTo>
                          <a:pt x="348" y="163"/>
                        </a:lnTo>
                        <a:lnTo>
                          <a:pt x="348" y="163"/>
                        </a:lnTo>
                        <a:lnTo>
                          <a:pt x="345" y="166"/>
                        </a:lnTo>
                        <a:lnTo>
                          <a:pt x="343" y="166"/>
                        </a:lnTo>
                        <a:lnTo>
                          <a:pt x="341" y="168"/>
                        </a:lnTo>
                        <a:lnTo>
                          <a:pt x="341" y="173"/>
                        </a:lnTo>
                        <a:lnTo>
                          <a:pt x="336" y="177"/>
                        </a:lnTo>
                        <a:lnTo>
                          <a:pt x="336" y="177"/>
                        </a:lnTo>
                        <a:lnTo>
                          <a:pt x="334" y="180"/>
                        </a:lnTo>
                        <a:lnTo>
                          <a:pt x="331" y="180"/>
                        </a:lnTo>
                        <a:lnTo>
                          <a:pt x="317" y="175"/>
                        </a:lnTo>
                        <a:lnTo>
                          <a:pt x="315" y="175"/>
                        </a:lnTo>
                        <a:lnTo>
                          <a:pt x="315" y="177"/>
                        </a:lnTo>
                        <a:lnTo>
                          <a:pt x="312" y="177"/>
                        </a:lnTo>
                        <a:lnTo>
                          <a:pt x="312" y="177"/>
                        </a:lnTo>
                        <a:lnTo>
                          <a:pt x="310" y="180"/>
                        </a:lnTo>
                        <a:lnTo>
                          <a:pt x="310" y="182"/>
                        </a:lnTo>
                        <a:lnTo>
                          <a:pt x="310" y="182"/>
                        </a:lnTo>
                        <a:lnTo>
                          <a:pt x="310" y="185"/>
                        </a:lnTo>
                        <a:lnTo>
                          <a:pt x="310" y="189"/>
                        </a:lnTo>
                        <a:lnTo>
                          <a:pt x="310" y="194"/>
                        </a:lnTo>
                        <a:lnTo>
                          <a:pt x="315" y="206"/>
                        </a:lnTo>
                        <a:lnTo>
                          <a:pt x="315" y="208"/>
                        </a:lnTo>
                        <a:lnTo>
                          <a:pt x="315" y="213"/>
                        </a:lnTo>
                        <a:lnTo>
                          <a:pt x="315" y="218"/>
                        </a:lnTo>
                        <a:lnTo>
                          <a:pt x="315" y="220"/>
                        </a:lnTo>
                        <a:lnTo>
                          <a:pt x="317" y="222"/>
                        </a:lnTo>
                        <a:lnTo>
                          <a:pt x="317" y="222"/>
                        </a:lnTo>
                        <a:lnTo>
                          <a:pt x="322" y="227"/>
                        </a:lnTo>
                        <a:lnTo>
                          <a:pt x="338" y="237"/>
                        </a:lnTo>
                        <a:lnTo>
                          <a:pt x="322" y="253"/>
                        </a:lnTo>
                        <a:lnTo>
                          <a:pt x="319" y="256"/>
                        </a:lnTo>
                        <a:lnTo>
                          <a:pt x="317" y="256"/>
                        </a:lnTo>
                        <a:lnTo>
                          <a:pt x="305" y="260"/>
                        </a:lnTo>
                        <a:lnTo>
                          <a:pt x="298" y="267"/>
                        </a:lnTo>
                        <a:lnTo>
                          <a:pt x="291" y="272"/>
                        </a:lnTo>
                        <a:lnTo>
                          <a:pt x="289" y="272"/>
                        </a:lnTo>
                        <a:lnTo>
                          <a:pt x="286" y="270"/>
                        </a:lnTo>
                        <a:lnTo>
                          <a:pt x="284" y="270"/>
                        </a:lnTo>
                        <a:lnTo>
                          <a:pt x="281" y="267"/>
                        </a:lnTo>
                        <a:lnTo>
                          <a:pt x="279" y="267"/>
                        </a:lnTo>
                        <a:lnTo>
                          <a:pt x="279" y="265"/>
                        </a:lnTo>
                        <a:lnTo>
                          <a:pt x="277" y="265"/>
                        </a:lnTo>
                        <a:lnTo>
                          <a:pt x="274" y="265"/>
                        </a:lnTo>
                        <a:lnTo>
                          <a:pt x="274" y="267"/>
                        </a:lnTo>
                        <a:lnTo>
                          <a:pt x="272" y="267"/>
                        </a:lnTo>
                        <a:lnTo>
                          <a:pt x="272" y="270"/>
                        </a:lnTo>
                        <a:lnTo>
                          <a:pt x="272" y="274"/>
                        </a:lnTo>
                        <a:lnTo>
                          <a:pt x="272" y="277"/>
                        </a:lnTo>
                        <a:lnTo>
                          <a:pt x="270" y="279"/>
                        </a:lnTo>
                        <a:lnTo>
                          <a:pt x="267" y="282"/>
                        </a:lnTo>
                        <a:lnTo>
                          <a:pt x="265" y="284"/>
                        </a:lnTo>
                        <a:lnTo>
                          <a:pt x="263" y="284"/>
                        </a:lnTo>
                        <a:lnTo>
                          <a:pt x="241" y="289"/>
                        </a:lnTo>
                        <a:lnTo>
                          <a:pt x="239" y="291"/>
                        </a:lnTo>
                        <a:lnTo>
                          <a:pt x="239" y="291"/>
                        </a:lnTo>
                        <a:lnTo>
                          <a:pt x="237" y="293"/>
                        </a:lnTo>
                        <a:lnTo>
                          <a:pt x="225" y="305"/>
                        </a:lnTo>
                        <a:lnTo>
                          <a:pt x="222" y="308"/>
                        </a:lnTo>
                        <a:lnTo>
                          <a:pt x="220" y="308"/>
                        </a:lnTo>
                        <a:lnTo>
                          <a:pt x="218" y="308"/>
                        </a:lnTo>
                        <a:lnTo>
                          <a:pt x="218" y="308"/>
                        </a:lnTo>
                        <a:lnTo>
                          <a:pt x="215" y="308"/>
                        </a:lnTo>
                        <a:lnTo>
                          <a:pt x="215" y="305"/>
                        </a:lnTo>
                        <a:lnTo>
                          <a:pt x="213" y="303"/>
                        </a:lnTo>
                        <a:lnTo>
                          <a:pt x="210" y="303"/>
                        </a:lnTo>
                        <a:lnTo>
                          <a:pt x="208" y="303"/>
                        </a:lnTo>
                        <a:lnTo>
                          <a:pt x="199" y="305"/>
                        </a:lnTo>
                        <a:lnTo>
                          <a:pt x="189" y="305"/>
                        </a:lnTo>
                        <a:lnTo>
                          <a:pt x="184" y="300"/>
                        </a:lnTo>
                        <a:lnTo>
                          <a:pt x="182" y="296"/>
                        </a:lnTo>
                        <a:lnTo>
                          <a:pt x="180" y="293"/>
                        </a:lnTo>
                        <a:lnTo>
                          <a:pt x="177" y="293"/>
                        </a:lnTo>
                        <a:lnTo>
                          <a:pt x="173" y="293"/>
                        </a:lnTo>
                        <a:lnTo>
                          <a:pt x="168" y="293"/>
                        </a:lnTo>
                        <a:lnTo>
                          <a:pt x="147" y="289"/>
                        </a:lnTo>
                        <a:lnTo>
                          <a:pt x="135" y="286"/>
                        </a:lnTo>
                        <a:lnTo>
                          <a:pt x="123" y="284"/>
                        </a:lnTo>
                        <a:lnTo>
                          <a:pt x="116" y="279"/>
                        </a:lnTo>
                        <a:lnTo>
                          <a:pt x="113" y="279"/>
                        </a:lnTo>
                        <a:lnTo>
                          <a:pt x="113" y="279"/>
                        </a:lnTo>
                        <a:lnTo>
                          <a:pt x="104" y="277"/>
                        </a:lnTo>
                        <a:lnTo>
                          <a:pt x="97" y="277"/>
                        </a:lnTo>
                        <a:lnTo>
                          <a:pt x="90" y="279"/>
                        </a:lnTo>
                        <a:lnTo>
                          <a:pt x="80" y="282"/>
                        </a:lnTo>
                        <a:lnTo>
                          <a:pt x="69" y="282"/>
                        </a:lnTo>
                        <a:lnTo>
                          <a:pt x="66" y="282"/>
                        </a:lnTo>
                        <a:lnTo>
                          <a:pt x="66" y="284"/>
                        </a:lnTo>
                        <a:lnTo>
                          <a:pt x="64" y="286"/>
                        </a:lnTo>
                        <a:lnTo>
                          <a:pt x="64" y="289"/>
                        </a:lnTo>
                        <a:lnTo>
                          <a:pt x="61" y="293"/>
                        </a:lnTo>
                        <a:lnTo>
                          <a:pt x="61" y="293"/>
                        </a:lnTo>
                        <a:lnTo>
                          <a:pt x="59" y="298"/>
                        </a:lnTo>
                        <a:lnTo>
                          <a:pt x="57" y="300"/>
                        </a:lnTo>
                        <a:lnTo>
                          <a:pt x="57" y="303"/>
                        </a:lnTo>
                        <a:lnTo>
                          <a:pt x="57" y="305"/>
                        </a:lnTo>
                        <a:lnTo>
                          <a:pt x="57" y="305"/>
                        </a:lnTo>
                        <a:lnTo>
                          <a:pt x="59" y="308"/>
                        </a:lnTo>
                        <a:lnTo>
                          <a:pt x="59" y="308"/>
                        </a:lnTo>
                        <a:lnTo>
                          <a:pt x="61" y="310"/>
                        </a:lnTo>
                        <a:lnTo>
                          <a:pt x="64" y="312"/>
                        </a:lnTo>
                        <a:lnTo>
                          <a:pt x="66" y="312"/>
                        </a:lnTo>
                        <a:lnTo>
                          <a:pt x="66" y="315"/>
                        </a:lnTo>
                        <a:lnTo>
                          <a:pt x="69" y="317"/>
                        </a:lnTo>
                        <a:lnTo>
                          <a:pt x="69" y="319"/>
                        </a:lnTo>
                        <a:lnTo>
                          <a:pt x="69" y="322"/>
                        </a:lnTo>
                        <a:lnTo>
                          <a:pt x="71" y="324"/>
                        </a:lnTo>
                        <a:lnTo>
                          <a:pt x="71" y="327"/>
                        </a:lnTo>
                        <a:lnTo>
                          <a:pt x="69" y="327"/>
                        </a:lnTo>
                        <a:lnTo>
                          <a:pt x="66" y="327"/>
                        </a:lnTo>
                        <a:lnTo>
                          <a:pt x="64" y="329"/>
                        </a:lnTo>
                        <a:lnTo>
                          <a:pt x="54" y="329"/>
                        </a:lnTo>
                        <a:lnTo>
                          <a:pt x="47" y="329"/>
                        </a:lnTo>
                        <a:lnTo>
                          <a:pt x="47" y="329"/>
                        </a:lnTo>
                        <a:lnTo>
                          <a:pt x="45" y="327"/>
                        </a:lnTo>
                        <a:lnTo>
                          <a:pt x="43" y="327"/>
                        </a:lnTo>
                        <a:lnTo>
                          <a:pt x="33" y="312"/>
                        </a:lnTo>
                        <a:lnTo>
                          <a:pt x="31" y="310"/>
                        </a:lnTo>
                        <a:lnTo>
                          <a:pt x="28" y="305"/>
                        </a:lnTo>
                        <a:lnTo>
                          <a:pt x="28" y="305"/>
                        </a:lnTo>
                        <a:lnTo>
                          <a:pt x="26" y="303"/>
                        </a:lnTo>
                        <a:lnTo>
                          <a:pt x="19" y="300"/>
                        </a:lnTo>
                        <a:lnTo>
                          <a:pt x="24" y="293"/>
                        </a:lnTo>
                        <a:lnTo>
                          <a:pt x="24" y="291"/>
                        </a:lnTo>
                        <a:lnTo>
                          <a:pt x="24" y="289"/>
                        </a:lnTo>
                        <a:lnTo>
                          <a:pt x="24" y="289"/>
                        </a:lnTo>
                        <a:lnTo>
                          <a:pt x="21" y="286"/>
                        </a:lnTo>
                        <a:lnTo>
                          <a:pt x="24" y="286"/>
                        </a:lnTo>
                        <a:lnTo>
                          <a:pt x="28" y="279"/>
                        </a:lnTo>
                        <a:lnTo>
                          <a:pt x="31" y="277"/>
                        </a:lnTo>
                        <a:lnTo>
                          <a:pt x="31" y="274"/>
                        </a:lnTo>
                        <a:lnTo>
                          <a:pt x="28" y="272"/>
                        </a:lnTo>
                        <a:lnTo>
                          <a:pt x="28" y="270"/>
                        </a:lnTo>
                        <a:lnTo>
                          <a:pt x="28" y="263"/>
                        </a:lnTo>
                        <a:lnTo>
                          <a:pt x="26" y="260"/>
                        </a:lnTo>
                        <a:lnTo>
                          <a:pt x="26" y="260"/>
                        </a:lnTo>
                        <a:lnTo>
                          <a:pt x="26" y="258"/>
                        </a:lnTo>
                        <a:lnTo>
                          <a:pt x="24" y="258"/>
                        </a:lnTo>
                        <a:lnTo>
                          <a:pt x="24" y="256"/>
                        </a:lnTo>
                        <a:lnTo>
                          <a:pt x="21" y="251"/>
                        </a:lnTo>
                        <a:lnTo>
                          <a:pt x="19" y="237"/>
                        </a:lnTo>
                        <a:lnTo>
                          <a:pt x="19" y="234"/>
                        </a:lnTo>
                        <a:lnTo>
                          <a:pt x="16" y="232"/>
                        </a:lnTo>
                        <a:lnTo>
                          <a:pt x="12" y="227"/>
                        </a:lnTo>
                        <a:lnTo>
                          <a:pt x="12" y="225"/>
                        </a:lnTo>
                        <a:lnTo>
                          <a:pt x="9" y="220"/>
                        </a:lnTo>
                        <a:lnTo>
                          <a:pt x="9" y="220"/>
                        </a:lnTo>
                        <a:lnTo>
                          <a:pt x="7" y="218"/>
                        </a:lnTo>
                        <a:lnTo>
                          <a:pt x="7" y="218"/>
                        </a:lnTo>
                        <a:lnTo>
                          <a:pt x="5" y="215"/>
                        </a:lnTo>
                        <a:lnTo>
                          <a:pt x="2" y="213"/>
                        </a:lnTo>
                        <a:lnTo>
                          <a:pt x="0" y="211"/>
                        </a:lnTo>
                        <a:lnTo>
                          <a:pt x="5" y="208"/>
                        </a:lnTo>
                        <a:lnTo>
                          <a:pt x="14" y="208"/>
                        </a:lnTo>
                        <a:lnTo>
                          <a:pt x="16" y="208"/>
                        </a:lnTo>
                        <a:lnTo>
                          <a:pt x="19" y="206"/>
                        </a:lnTo>
                        <a:lnTo>
                          <a:pt x="19" y="203"/>
                        </a:lnTo>
                        <a:lnTo>
                          <a:pt x="24" y="201"/>
                        </a:lnTo>
                        <a:lnTo>
                          <a:pt x="26" y="199"/>
                        </a:lnTo>
                        <a:lnTo>
                          <a:pt x="31" y="189"/>
                        </a:lnTo>
                        <a:lnTo>
                          <a:pt x="33" y="187"/>
                        </a:lnTo>
                        <a:lnTo>
                          <a:pt x="33" y="185"/>
                        </a:lnTo>
                        <a:lnTo>
                          <a:pt x="35" y="185"/>
                        </a:lnTo>
                        <a:lnTo>
                          <a:pt x="40" y="187"/>
                        </a:lnTo>
                        <a:lnTo>
                          <a:pt x="43" y="187"/>
                        </a:lnTo>
                        <a:lnTo>
                          <a:pt x="45" y="187"/>
                        </a:lnTo>
                        <a:lnTo>
                          <a:pt x="47" y="180"/>
                        </a:lnTo>
                        <a:lnTo>
                          <a:pt x="54" y="175"/>
                        </a:lnTo>
                        <a:lnTo>
                          <a:pt x="59" y="170"/>
                        </a:lnTo>
                        <a:lnTo>
                          <a:pt x="64" y="168"/>
                        </a:lnTo>
                        <a:lnTo>
                          <a:pt x="66" y="166"/>
                        </a:lnTo>
                        <a:lnTo>
                          <a:pt x="69" y="163"/>
                        </a:lnTo>
                        <a:lnTo>
                          <a:pt x="69" y="163"/>
                        </a:lnTo>
                        <a:lnTo>
                          <a:pt x="69" y="163"/>
                        </a:lnTo>
                        <a:lnTo>
                          <a:pt x="66" y="161"/>
                        </a:lnTo>
                        <a:lnTo>
                          <a:pt x="66" y="161"/>
                        </a:lnTo>
                        <a:lnTo>
                          <a:pt x="61" y="159"/>
                        </a:lnTo>
                        <a:lnTo>
                          <a:pt x="61" y="159"/>
                        </a:lnTo>
                        <a:lnTo>
                          <a:pt x="59" y="156"/>
                        </a:lnTo>
                        <a:lnTo>
                          <a:pt x="59" y="156"/>
                        </a:lnTo>
                        <a:lnTo>
                          <a:pt x="57" y="151"/>
                        </a:lnTo>
                        <a:lnTo>
                          <a:pt x="54" y="149"/>
                        </a:lnTo>
                        <a:lnTo>
                          <a:pt x="54" y="149"/>
                        </a:lnTo>
                        <a:lnTo>
                          <a:pt x="52" y="147"/>
                        </a:lnTo>
                        <a:lnTo>
                          <a:pt x="50" y="144"/>
                        </a:lnTo>
                        <a:lnTo>
                          <a:pt x="50" y="142"/>
                        </a:lnTo>
                        <a:lnTo>
                          <a:pt x="52" y="137"/>
                        </a:lnTo>
                        <a:lnTo>
                          <a:pt x="52" y="135"/>
                        </a:lnTo>
                        <a:lnTo>
                          <a:pt x="54" y="135"/>
                        </a:lnTo>
                        <a:lnTo>
                          <a:pt x="61" y="133"/>
                        </a:lnTo>
                        <a:lnTo>
                          <a:pt x="64" y="133"/>
                        </a:lnTo>
                        <a:lnTo>
                          <a:pt x="69" y="125"/>
                        </a:lnTo>
                        <a:lnTo>
                          <a:pt x="71" y="125"/>
                        </a:lnTo>
                        <a:lnTo>
                          <a:pt x="71" y="123"/>
                        </a:lnTo>
                        <a:lnTo>
                          <a:pt x="73" y="116"/>
                        </a:lnTo>
                        <a:lnTo>
                          <a:pt x="85" y="102"/>
                        </a:lnTo>
                        <a:lnTo>
                          <a:pt x="85" y="102"/>
                        </a:lnTo>
                        <a:lnTo>
                          <a:pt x="87" y="99"/>
                        </a:lnTo>
                        <a:lnTo>
                          <a:pt x="87" y="102"/>
                        </a:lnTo>
                        <a:lnTo>
                          <a:pt x="90" y="102"/>
                        </a:lnTo>
                        <a:lnTo>
                          <a:pt x="90" y="102"/>
                        </a:lnTo>
                        <a:lnTo>
                          <a:pt x="92" y="104"/>
                        </a:lnTo>
                        <a:lnTo>
                          <a:pt x="97" y="104"/>
                        </a:lnTo>
                        <a:lnTo>
                          <a:pt x="99" y="106"/>
                        </a:lnTo>
                        <a:lnTo>
                          <a:pt x="99" y="106"/>
                        </a:lnTo>
                        <a:lnTo>
                          <a:pt x="102" y="106"/>
                        </a:lnTo>
                        <a:lnTo>
                          <a:pt x="104" y="111"/>
                        </a:lnTo>
                        <a:lnTo>
                          <a:pt x="104" y="111"/>
                        </a:lnTo>
                        <a:lnTo>
                          <a:pt x="106" y="114"/>
                        </a:lnTo>
                        <a:lnTo>
                          <a:pt x="109" y="114"/>
                        </a:lnTo>
                        <a:lnTo>
                          <a:pt x="111" y="116"/>
                        </a:lnTo>
                        <a:lnTo>
                          <a:pt x="113" y="116"/>
                        </a:lnTo>
                        <a:lnTo>
                          <a:pt x="113" y="114"/>
                        </a:lnTo>
                        <a:lnTo>
                          <a:pt x="116" y="111"/>
                        </a:lnTo>
                        <a:lnTo>
                          <a:pt x="118" y="109"/>
                        </a:lnTo>
                        <a:lnTo>
                          <a:pt x="118" y="109"/>
                        </a:lnTo>
                        <a:lnTo>
                          <a:pt x="121" y="109"/>
                        </a:lnTo>
                        <a:lnTo>
                          <a:pt x="121" y="111"/>
                        </a:lnTo>
                        <a:lnTo>
                          <a:pt x="123" y="111"/>
                        </a:lnTo>
                        <a:lnTo>
                          <a:pt x="135" y="118"/>
                        </a:lnTo>
                        <a:lnTo>
                          <a:pt x="137" y="118"/>
                        </a:lnTo>
                        <a:lnTo>
                          <a:pt x="137" y="121"/>
                        </a:lnTo>
                        <a:lnTo>
                          <a:pt x="140" y="121"/>
                        </a:lnTo>
                        <a:lnTo>
                          <a:pt x="140" y="123"/>
                        </a:lnTo>
                        <a:lnTo>
                          <a:pt x="140" y="123"/>
                        </a:lnTo>
                        <a:lnTo>
                          <a:pt x="140" y="128"/>
                        </a:lnTo>
                        <a:lnTo>
                          <a:pt x="140" y="130"/>
                        </a:lnTo>
                        <a:lnTo>
                          <a:pt x="142" y="133"/>
                        </a:lnTo>
                        <a:lnTo>
                          <a:pt x="142" y="133"/>
                        </a:lnTo>
                        <a:lnTo>
                          <a:pt x="144" y="135"/>
                        </a:lnTo>
                        <a:lnTo>
                          <a:pt x="147" y="137"/>
                        </a:lnTo>
                        <a:lnTo>
                          <a:pt x="147" y="140"/>
                        </a:lnTo>
                        <a:lnTo>
                          <a:pt x="149" y="140"/>
                        </a:lnTo>
                        <a:lnTo>
                          <a:pt x="149" y="142"/>
                        </a:lnTo>
                        <a:lnTo>
                          <a:pt x="149" y="144"/>
                        </a:lnTo>
                        <a:lnTo>
                          <a:pt x="149" y="147"/>
                        </a:lnTo>
                        <a:lnTo>
                          <a:pt x="149" y="149"/>
                        </a:lnTo>
                        <a:lnTo>
                          <a:pt x="149" y="149"/>
                        </a:lnTo>
                        <a:lnTo>
                          <a:pt x="149" y="149"/>
                        </a:lnTo>
                        <a:lnTo>
                          <a:pt x="151" y="149"/>
                        </a:lnTo>
                        <a:lnTo>
                          <a:pt x="156" y="147"/>
                        </a:lnTo>
                        <a:lnTo>
                          <a:pt x="168" y="137"/>
                        </a:lnTo>
                        <a:lnTo>
                          <a:pt x="168" y="135"/>
                        </a:lnTo>
                        <a:lnTo>
                          <a:pt x="170" y="133"/>
                        </a:lnTo>
                        <a:lnTo>
                          <a:pt x="170" y="130"/>
                        </a:lnTo>
                        <a:lnTo>
                          <a:pt x="173" y="128"/>
                        </a:lnTo>
                        <a:lnTo>
                          <a:pt x="177" y="116"/>
                        </a:lnTo>
                        <a:lnTo>
                          <a:pt x="182" y="104"/>
                        </a:lnTo>
                        <a:lnTo>
                          <a:pt x="189" y="90"/>
                        </a:lnTo>
                        <a:lnTo>
                          <a:pt x="196" y="80"/>
                        </a:lnTo>
                        <a:lnTo>
                          <a:pt x="199" y="76"/>
                        </a:lnTo>
                        <a:lnTo>
                          <a:pt x="199" y="71"/>
                        </a:lnTo>
                        <a:lnTo>
                          <a:pt x="199" y="71"/>
                        </a:lnTo>
                        <a:lnTo>
                          <a:pt x="199" y="66"/>
                        </a:lnTo>
                        <a:lnTo>
                          <a:pt x="196" y="66"/>
                        </a:lnTo>
                        <a:lnTo>
                          <a:pt x="196" y="62"/>
                        </a:lnTo>
                        <a:lnTo>
                          <a:pt x="199" y="62"/>
                        </a:lnTo>
                        <a:lnTo>
                          <a:pt x="201" y="59"/>
                        </a:lnTo>
                        <a:lnTo>
                          <a:pt x="203" y="57"/>
                        </a:lnTo>
                        <a:lnTo>
                          <a:pt x="222" y="28"/>
                        </a:lnTo>
                        <a:lnTo>
                          <a:pt x="222" y="26"/>
                        </a:lnTo>
                        <a:lnTo>
                          <a:pt x="222" y="26"/>
                        </a:lnTo>
                        <a:lnTo>
                          <a:pt x="222" y="21"/>
                        </a:lnTo>
                        <a:lnTo>
                          <a:pt x="222" y="19"/>
                        </a:lnTo>
                        <a:lnTo>
                          <a:pt x="222" y="17"/>
                        </a:lnTo>
                        <a:lnTo>
                          <a:pt x="222" y="12"/>
                        </a:lnTo>
                        <a:lnTo>
                          <a:pt x="225" y="9"/>
                        </a:lnTo>
                        <a:lnTo>
                          <a:pt x="225" y="7"/>
                        </a:lnTo>
                        <a:lnTo>
                          <a:pt x="225" y="7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33" name="Freeform 29">
                    <a:extLst>
                      <a:ext uri="{FF2B5EF4-FFF2-40B4-BE49-F238E27FC236}">
                        <a16:creationId xmlns:a16="http://schemas.microsoft.com/office/drawing/2014/main" id="{CD826CD6-D313-4ADF-9199-52638C27F22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987891" y="3702749"/>
                    <a:ext cx="1563802" cy="941821"/>
                  </a:xfrm>
                  <a:custGeom>
                    <a:avLst/>
                    <a:gdLst>
                      <a:gd name="T0" fmla="*/ 1221 w 1230"/>
                      <a:gd name="T1" fmla="*/ 629 h 741"/>
                      <a:gd name="T2" fmla="*/ 1214 w 1230"/>
                      <a:gd name="T3" fmla="*/ 703 h 741"/>
                      <a:gd name="T4" fmla="*/ 1197 w 1230"/>
                      <a:gd name="T5" fmla="*/ 738 h 741"/>
                      <a:gd name="T6" fmla="*/ 1117 w 1230"/>
                      <a:gd name="T7" fmla="*/ 715 h 741"/>
                      <a:gd name="T8" fmla="*/ 1083 w 1230"/>
                      <a:gd name="T9" fmla="*/ 670 h 741"/>
                      <a:gd name="T10" fmla="*/ 1055 w 1230"/>
                      <a:gd name="T11" fmla="*/ 622 h 741"/>
                      <a:gd name="T12" fmla="*/ 1029 w 1230"/>
                      <a:gd name="T13" fmla="*/ 582 h 741"/>
                      <a:gd name="T14" fmla="*/ 866 w 1230"/>
                      <a:gd name="T15" fmla="*/ 584 h 741"/>
                      <a:gd name="T16" fmla="*/ 800 w 1230"/>
                      <a:gd name="T17" fmla="*/ 566 h 741"/>
                      <a:gd name="T18" fmla="*/ 826 w 1230"/>
                      <a:gd name="T19" fmla="*/ 528 h 741"/>
                      <a:gd name="T20" fmla="*/ 792 w 1230"/>
                      <a:gd name="T21" fmla="*/ 532 h 741"/>
                      <a:gd name="T22" fmla="*/ 764 w 1230"/>
                      <a:gd name="T23" fmla="*/ 528 h 741"/>
                      <a:gd name="T24" fmla="*/ 681 w 1230"/>
                      <a:gd name="T25" fmla="*/ 589 h 741"/>
                      <a:gd name="T26" fmla="*/ 662 w 1230"/>
                      <a:gd name="T27" fmla="*/ 568 h 741"/>
                      <a:gd name="T28" fmla="*/ 641 w 1230"/>
                      <a:gd name="T29" fmla="*/ 566 h 741"/>
                      <a:gd name="T30" fmla="*/ 624 w 1230"/>
                      <a:gd name="T31" fmla="*/ 487 h 741"/>
                      <a:gd name="T32" fmla="*/ 615 w 1230"/>
                      <a:gd name="T33" fmla="*/ 478 h 741"/>
                      <a:gd name="T34" fmla="*/ 589 w 1230"/>
                      <a:gd name="T35" fmla="*/ 459 h 741"/>
                      <a:gd name="T36" fmla="*/ 572 w 1230"/>
                      <a:gd name="T37" fmla="*/ 466 h 741"/>
                      <a:gd name="T38" fmla="*/ 565 w 1230"/>
                      <a:gd name="T39" fmla="*/ 471 h 741"/>
                      <a:gd name="T40" fmla="*/ 553 w 1230"/>
                      <a:gd name="T41" fmla="*/ 466 h 741"/>
                      <a:gd name="T42" fmla="*/ 532 w 1230"/>
                      <a:gd name="T43" fmla="*/ 492 h 741"/>
                      <a:gd name="T44" fmla="*/ 452 w 1230"/>
                      <a:gd name="T45" fmla="*/ 431 h 741"/>
                      <a:gd name="T46" fmla="*/ 430 w 1230"/>
                      <a:gd name="T47" fmla="*/ 419 h 741"/>
                      <a:gd name="T48" fmla="*/ 419 w 1230"/>
                      <a:gd name="T49" fmla="*/ 431 h 741"/>
                      <a:gd name="T50" fmla="*/ 374 w 1230"/>
                      <a:gd name="T51" fmla="*/ 414 h 741"/>
                      <a:gd name="T52" fmla="*/ 383 w 1230"/>
                      <a:gd name="T53" fmla="*/ 405 h 741"/>
                      <a:gd name="T54" fmla="*/ 362 w 1230"/>
                      <a:gd name="T55" fmla="*/ 369 h 741"/>
                      <a:gd name="T56" fmla="*/ 322 w 1230"/>
                      <a:gd name="T57" fmla="*/ 350 h 741"/>
                      <a:gd name="T58" fmla="*/ 232 w 1230"/>
                      <a:gd name="T59" fmla="*/ 395 h 741"/>
                      <a:gd name="T60" fmla="*/ 180 w 1230"/>
                      <a:gd name="T61" fmla="*/ 393 h 741"/>
                      <a:gd name="T62" fmla="*/ 118 w 1230"/>
                      <a:gd name="T63" fmla="*/ 383 h 741"/>
                      <a:gd name="T64" fmla="*/ 128 w 1230"/>
                      <a:gd name="T65" fmla="*/ 360 h 741"/>
                      <a:gd name="T66" fmla="*/ 128 w 1230"/>
                      <a:gd name="T67" fmla="*/ 346 h 741"/>
                      <a:gd name="T68" fmla="*/ 121 w 1230"/>
                      <a:gd name="T69" fmla="*/ 334 h 741"/>
                      <a:gd name="T70" fmla="*/ 92 w 1230"/>
                      <a:gd name="T71" fmla="*/ 334 h 741"/>
                      <a:gd name="T72" fmla="*/ 64 w 1230"/>
                      <a:gd name="T73" fmla="*/ 315 h 741"/>
                      <a:gd name="T74" fmla="*/ 64 w 1230"/>
                      <a:gd name="T75" fmla="*/ 298 h 741"/>
                      <a:gd name="T76" fmla="*/ 68 w 1230"/>
                      <a:gd name="T77" fmla="*/ 286 h 741"/>
                      <a:gd name="T78" fmla="*/ 45 w 1230"/>
                      <a:gd name="T79" fmla="*/ 260 h 741"/>
                      <a:gd name="T80" fmla="*/ 5 w 1230"/>
                      <a:gd name="T81" fmla="*/ 237 h 741"/>
                      <a:gd name="T82" fmla="*/ 0 w 1230"/>
                      <a:gd name="T83" fmla="*/ 201 h 741"/>
                      <a:gd name="T84" fmla="*/ 24 w 1230"/>
                      <a:gd name="T85" fmla="*/ 199 h 741"/>
                      <a:gd name="T86" fmla="*/ 38 w 1230"/>
                      <a:gd name="T87" fmla="*/ 182 h 741"/>
                      <a:gd name="T88" fmla="*/ 57 w 1230"/>
                      <a:gd name="T89" fmla="*/ 161 h 741"/>
                      <a:gd name="T90" fmla="*/ 50 w 1230"/>
                      <a:gd name="T91" fmla="*/ 152 h 741"/>
                      <a:gd name="T92" fmla="*/ 42 w 1230"/>
                      <a:gd name="T93" fmla="*/ 135 h 741"/>
                      <a:gd name="T94" fmla="*/ 38 w 1230"/>
                      <a:gd name="T95" fmla="*/ 104 h 741"/>
                      <a:gd name="T96" fmla="*/ 40 w 1230"/>
                      <a:gd name="T97" fmla="*/ 62 h 741"/>
                      <a:gd name="T98" fmla="*/ 310 w 1230"/>
                      <a:gd name="T99" fmla="*/ 0 h 741"/>
                      <a:gd name="T100" fmla="*/ 371 w 1230"/>
                      <a:gd name="T101" fmla="*/ 43 h 741"/>
                      <a:gd name="T102" fmla="*/ 348 w 1230"/>
                      <a:gd name="T103" fmla="*/ 88 h 741"/>
                      <a:gd name="T104" fmla="*/ 317 w 1230"/>
                      <a:gd name="T105" fmla="*/ 201 h 741"/>
                      <a:gd name="T106" fmla="*/ 516 w 1230"/>
                      <a:gd name="T107" fmla="*/ 260 h 741"/>
                      <a:gd name="T108" fmla="*/ 632 w 1230"/>
                      <a:gd name="T109" fmla="*/ 284 h 741"/>
                      <a:gd name="T110" fmla="*/ 809 w 1230"/>
                      <a:gd name="T111" fmla="*/ 348 h 741"/>
                      <a:gd name="T112" fmla="*/ 937 w 1230"/>
                      <a:gd name="T113" fmla="*/ 388 h 741"/>
                      <a:gd name="T114" fmla="*/ 1027 w 1230"/>
                      <a:gd name="T115" fmla="*/ 412 h 741"/>
                      <a:gd name="T116" fmla="*/ 1109 w 1230"/>
                      <a:gd name="T117" fmla="*/ 471 h 741"/>
                      <a:gd name="T118" fmla="*/ 1164 w 1230"/>
                      <a:gd name="T119" fmla="*/ 513 h 7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1230" h="741">
                        <a:moveTo>
                          <a:pt x="1228" y="594"/>
                        </a:moveTo>
                        <a:lnTo>
                          <a:pt x="1228" y="594"/>
                        </a:lnTo>
                        <a:lnTo>
                          <a:pt x="1228" y="596"/>
                        </a:lnTo>
                        <a:lnTo>
                          <a:pt x="1230" y="599"/>
                        </a:lnTo>
                        <a:lnTo>
                          <a:pt x="1228" y="603"/>
                        </a:lnTo>
                        <a:lnTo>
                          <a:pt x="1223" y="611"/>
                        </a:lnTo>
                        <a:lnTo>
                          <a:pt x="1223" y="622"/>
                        </a:lnTo>
                        <a:lnTo>
                          <a:pt x="1221" y="629"/>
                        </a:lnTo>
                        <a:lnTo>
                          <a:pt x="1211" y="639"/>
                        </a:lnTo>
                        <a:lnTo>
                          <a:pt x="1209" y="660"/>
                        </a:lnTo>
                        <a:lnTo>
                          <a:pt x="1206" y="665"/>
                        </a:lnTo>
                        <a:lnTo>
                          <a:pt x="1209" y="674"/>
                        </a:lnTo>
                        <a:lnTo>
                          <a:pt x="1206" y="684"/>
                        </a:lnTo>
                        <a:lnTo>
                          <a:pt x="1206" y="686"/>
                        </a:lnTo>
                        <a:lnTo>
                          <a:pt x="1211" y="698"/>
                        </a:lnTo>
                        <a:lnTo>
                          <a:pt x="1214" y="703"/>
                        </a:lnTo>
                        <a:lnTo>
                          <a:pt x="1214" y="726"/>
                        </a:lnTo>
                        <a:lnTo>
                          <a:pt x="1216" y="729"/>
                        </a:lnTo>
                        <a:lnTo>
                          <a:pt x="1214" y="731"/>
                        </a:lnTo>
                        <a:lnTo>
                          <a:pt x="1211" y="736"/>
                        </a:lnTo>
                        <a:lnTo>
                          <a:pt x="1211" y="738"/>
                        </a:lnTo>
                        <a:lnTo>
                          <a:pt x="1204" y="741"/>
                        </a:lnTo>
                        <a:lnTo>
                          <a:pt x="1199" y="738"/>
                        </a:lnTo>
                        <a:lnTo>
                          <a:pt x="1197" y="738"/>
                        </a:lnTo>
                        <a:lnTo>
                          <a:pt x="1180" y="729"/>
                        </a:lnTo>
                        <a:lnTo>
                          <a:pt x="1176" y="729"/>
                        </a:lnTo>
                        <a:lnTo>
                          <a:pt x="1162" y="731"/>
                        </a:lnTo>
                        <a:lnTo>
                          <a:pt x="1157" y="731"/>
                        </a:lnTo>
                        <a:lnTo>
                          <a:pt x="1150" y="729"/>
                        </a:lnTo>
                        <a:lnTo>
                          <a:pt x="1140" y="726"/>
                        </a:lnTo>
                        <a:lnTo>
                          <a:pt x="1128" y="719"/>
                        </a:lnTo>
                        <a:lnTo>
                          <a:pt x="1117" y="715"/>
                        </a:lnTo>
                        <a:lnTo>
                          <a:pt x="1112" y="715"/>
                        </a:lnTo>
                        <a:lnTo>
                          <a:pt x="1107" y="712"/>
                        </a:lnTo>
                        <a:lnTo>
                          <a:pt x="1081" y="686"/>
                        </a:lnTo>
                        <a:lnTo>
                          <a:pt x="1076" y="684"/>
                        </a:lnTo>
                        <a:lnTo>
                          <a:pt x="1076" y="679"/>
                        </a:lnTo>
                        <a:lnTo>
                          <a:pt x="1081" y="679"/>
                        </a:lnTo>
                        <a:lnTo>
                          <a:pt x="1083" y="674"/>
                        </a:lnTo>
                        <a:lnTo>
                          <a:pt x="1083" y="670"/>
                        </a:lnTo>
                        <a:lnTo>
                          <a:pt x="1079" y="665"/>
                        </a:lnTo>
                        <a:lnTo>
                          <a:pt x="1076" y="663"/>
                        </a:lnTo>
                        <a:lnTo>
                          <a:pt x="1067" y="660"/>
                        </a:lnTo>
                        <a:lnTo>
                          <a:pt x="1062" y="660"/>
                        </a:lnTo>
                        <a:lnTo>
                          <a:pt x="1072" y="648"/>
                        </a:lnTo>
                        <a:lnTo>
                          <a:pt x="1074" y="639"/>
                        </a:lnTo>
                        <a:lnTo>
                          <a:pt x="1067" y="632"/>
                        </a:lnTo>
                        <a:lnTo>
                          <a:pt x="1055" y="622"/>
                        </a:lnTo>
                        <a:lnTo>
                          <a:pt x="1046" y="618"/>
                        </a:lnTo>
                        <a:lnTo>
                          <a:pt x="1041" y="613"/>
                        </a:lnTo>
                        <a:lnTo>
                          <a:pt x="1036" y="608"/>
                        </a:lnTo>
                        <a:lnTo>
                          <a:pt x="1036" y="599"/>
                        </a:lnTo>
                        <a:lnTo>
                          <a:pt x="1034" y="592"/>
                        </a:lnTo>
                        <a:lnTo>
                          <a:pt x="1029" y="587"/>
                        </a:lnTo>
                        <a:lnTo>
                          <a:pt x="1027" y="584"/>
                        </a:lnTo>
                        <a:lnTo>
                          <a:pt x="1029" y="582"/>
                        </a:lnTo>
                        <a:lnTo>
                          <a:pt x="1029" y="580"/>
                        </a:lnTo>
                        <a:lnTo>
                          <a:pt x="1012" y="570"/>
                        </a:lnTo>
                        <a:lnTo>
                          <a:pt x="1005" y="570"/>
                        </a:lnTo>
                        <a:lnTo>
                          <a:pt x="901" y="589"/>
                        </a:lnTo>
                        <a:lnTo>
                          <a:pt x="894" y="589"/>
                        </a:lnTo>
                        <a:lnTo>
                          <a:pt x="875" y="582"/>
                        </a:lnTo>
                        <a:lnTo>
                          <a:pt x="873" y="582"/>
                        </a:lnTo>
                        <a:lnTo>
                          <a:pt x="866" y="584"/>
                        </a:lnTo>
                        <a:lnTo>
                          <a:pt x="863" y="584"/>
                        </a:lnTo>
                        <a:lnTo>
                          <a:pt x="861" y="584"/>
                        </a:lnTo>
                        <a:lnTo>
                          <a:pt x="854" y="580"/>
                        </a:lnTo>
                        <a:lnTo>
                          <a:pt x="852" y="577"/>
                        </a:lnTo>
                        <a:lnTo>
                          <a:pt x="847" y="577"/>
                        </a:lnTo>
                        <a:lnTo>
                          <a:pt x="828" y="573"/>
                        </a:lnTo>
                        <a:lnTo>
                          <a:pt x="809" y="568"/>
                        </a:lnTo>
                        <a:lnTo>
                          <a:pt x="800" y="566"/>
                        </a:lnTo>
                        <a:lnTo>
                          <a:pt x="795" y="561"/>
                        </a:lnTo>
                        <a:lnTo>
                          <a:pt x="802" y="556"/>
                        </a:lnTo>
                        <a:lnTo>
                          <a:pt x="807" y="549"/>
                        </a:lnTo>
                        <a:lnTo>
                          <a:pt x="807" y="542"/>
                        </a:lnTo>
                        <a:lnTo>
                          <a:pt x="797" y="537"/>
                        </a:lnTo>
                        <a:lnTo>
                          <a:pt x="804" y="532"/>
                        </a:lnTo>
                        <a:lnTo>
                          <a:pt x="818" y="532"/>
                        </a:lnTo>
                        <a:lnTo>
                          <a:pt x="826" y="528"/>
                        </a:lnTo>
                        <a:lnTo>
                          <a:pt x="826" y="521"/>
                        </a:lnTo>
                        <a:lnTo>
                          <a:pt x="821" y="521"/>
                        </a:lnTo>
                        <a:lnTo>
                          <a:pt x="807" y="528"/>
                        </a:lnTo>
                        <a:lnTo>
                          <a:pt x="809" y="528"/>
                        </a:lnTo>
                        <a:lnTo>
                          <a:pt x="809" y="525"/>
                        </a:lnTo>
                        <a:lnTo>
                          <a:pt x="802" y="523"/>
                        </a:lnTo>
                        <a:lnTo>
                          <a:pt x="797" y="528"/>
                        </a:lnTo>
                        <a:lnTo>
                          <a:pt x="792" y="532"/>
                        </a:lnTo>
                        <a:lnTo>
                          <a:pt x="785" y="537"/>
                        </a:lnTo>
                        <a:lnTo>
                          <a:pt x="783" y="535"/>
                        </a:lnTo>
                        <a:lnTo>
                          <a:pt x="781" y="532"/>
                        </a:lnTo>
                        <a:lnTo>
                          <a:pt x="778" y="530"/>
                        </a:lnTo>
                        <a:lnTo>
                          <a:pt x="776" y="528"/>
                        </a:lnTo>
                        <a:lnTo>
                          <a:pt x="774" y="525"/>
                        </a:lnTo>
                        <a:lnTo>
                          <a:pt x="766" y="528"/>
                        </a:lnTo>
                        <a:lnTo>
                          <a:pt x="764" y="528"/>
                        </a:lnTo>
                        <a:lnTo>
                          <a:pt x="740" y="530"/>
                        </a:lnTo>
                        <a:lnTo>
                          <a:pt x="719" y="547"/>
                        </a:lnTo>
                        <a:lnTo>
                          <a:pt x="703" y="570"/>
                        </a:lnTo>
                        <a:lnTo>
                          <a:pt x="691" y="596"/>
                        </a:lnTo>
                        <a:lnTo>
                          <a:pt x="688" y="594"/>
                        </a:lnTo>
                        <a:lnTo>
                          <a:pt x="686" y="594"/>
                        </a:lnTo>
                        <a:lnTo>
                          <a:pt x="684" y="592"/>
                        </a:lnTo>
                        <a:lnTo>
                          <a:pt x="681" y="589"/>
                        </a:lnTo>
                        <a:lnTo>
                          <a:pt x="681" y="587"/>
                        </a:lnTo>
                        <a:lnTo>
                          <a:pt x="679" y="584"/>
                        </a:lnTo>
                        <a:lnTo>
                          <a:pt x="677" y="584"/>
                        </a:lnTo>
                        <a:lnTo>
                          <a:pt x="674" y="582"/>
                        </a:lnTo>
                        <a:lnTo>
                          <a:pt x="672" y="580"/>
                        </a:lnTo>
                        <a:lnTo>
                          <a:pt x="665" y="570"/>
                        </a:lnTo>
                        <a:lnTo>
                          <a:pt x="662" y="568"/>
                        </a:lnTo>
                        <a:lnTo>
                          <a:pt x="662" y="568"/>
                        </a:lnTo>
                        <a:lnTo>
                          <a:pt x="658" y="568"/>
                        </a:lnTo>
                        <a:lnTo>
                          <a:pt x="658" y="568"/>
                        </a:lnTo>
                        <a:lnTo>
                          <a:pt x="650" y="573"/>
                        </a:lnTo>
                        <a:lnTo>
                          <a:pt x="648" y="573"/>
                        </a:lnTo>
                        <a:lnTo>
                          <a:pt x="648" y="573"/>
                        </a:lnTo>
                        <a:lnTo>
                          <a:pt x="646" y="573"/>
                        </a:lnTo>
                        <a:lnTo>
                          <a:pt x="643" y="568"/>
                        </a:lnTo>
                        <a:lnTo>
                          <a:pt x="641" y="566"/>
                        </a:lnTo>
                        <a:lnTo>
                          <a:pt x="634" y="544"/>
                        </a:lnTo>
                        <a:lnTo>
                          <a:pt x="632" y="542"/>
                        </a:lnTo>
                        <a:lnTo>
                          <a:pt x="632" y="540"/>
                        </a:lnTo>
                        <a:lnTo>
                          <a:pt x="629" y="521"/>
                        </a:lnTo>
                        <a:lnTo>
                          <a:pt x="624" y="504"/>
                        </a:lnTo>
                        <a:lnTo>
                          <a:pt x="624" y="492"/>
                        </a:lnTo>
                        <a:lnTo>
                          <a:pt x="624" y="490"/>
                        </a:lnTo>
                        <a:lnTo>
                          <a:pt x="624" y="487"/>
                        </a:lnTo>
                        <a:lnTo>
                          <a:pt x="622" y="485"/>
                        </a:lnTo>
                        <a:lnTo>
                          <a:pt x="622" y="483"/>
                        </a:lnTo>
                        <a:lnTo>
                          <a:pt x="620" y="483"/>
                        </a:lnTo>
                        <a:lnTo>
                          <a:pt x="617" y="483"/>
                        </a:lnTo>
                        <a:lnTo>
                          <a:pt x="617" y="480"/>
                        </a:lnTo>
                        <a:lnTo>
                          <a:pt x="615" y="480"/>
                        </a:lnTo>
                        <a:lnTo>
                          <a:pt x="615" y="480"/>
                        </a:lnTo>
                        <a:lnTo>
                          <a:pt x="615" y="478"/>
                        </a:lnTo>
                        <a:lnTo>
                          <a:pt x="620" y="476"/>
                        </a:lnTo>
                        <a:lnTo>
                          <a:pt x="620" y="471"/>
                        </a:lnTo>
                        <a:lnTo>
                          <a:pt x="613" y="464"/>
                        </a:lnTo>
                        <a:lnTo>
                          <a:pt x="610" y="464"/>
                        </a:lnTo>
                        <a:lnTo>
                          <a:pt x="608" y="464"/>
                        </a:lnTo>
                        <a:lnTo>
                          <a:pt x="598" y="464"/>
                        </a:lnTo>
                        <a:lnTo>
                          <a:pt x="591" y="461"/>
                        </a:lnTo>
                        <a:lnTo>
                          <a:pt x="589" y="459"/>
                        </a:lnTo>
                        <a:lnTo>
                          <a:pt x="587" y="459"/>
                        </a:lnTo>
                        <a:lnTo>
                          <a:pt x="577" y="459"/>
                        </a:lnTo>
                        <a:lnTo>
                          <a:pt x="575" y="461"/>
                        </a:lnTo>
                        <a:lnTo>
                          <a:pt x="572" y="461"/>
                        </a:lnTo>
                        <a:lnTo>
                          <a:pt x="572" y="464"/>
                        </a:lnTo>
                        <a:lnTo>
                          <a:pt x="575" y="464"/>
                        </a:lnTo>
                        <a:lnTo>
                          <a:pt x="572" y="466"/>
                        </a:lnTo>
                        <a:lnTo>
                          <a:pt x="572" y="466"/>
                        </a:lnTo>
                        <a:lnTo>
                          <a:pt x="565" y="464"/>
                        </a:lnTo>
                        <a:lnTo>
                          <a:pt x="563" y="464"/>
                        </a:lnTo>
                        <a:lnTo>
                          <a:pt x="561" y="464"/>
                        </a:lnTo>
                        <a:lnTo>
                          <a:pt x="561" y="466"/>
                        </a:lnTo>
                        <a:lnTo>
                          <a:pt x="561" y="466"/>
                        </a:lnTo>
                        <a:lnTo>
                          <a:pt x="563" y="469"/>
                        </a:lnTo>
                        <a:lnTo>
                          <a:pt x="565" y="471"/>
                        </a:lnTo>
                        <a:lnTo>
                          <a:pt x="565" y="471"/>
                        </a:lnTo>
                        <a:lnTo>
                          <a:pt x="568" y="473"/>
                        </a:lnTo>
                        <a:lnTo>
                          <a:pt x="568" y="476"/>
                        </a:lnTo>
                        <a:lnTo>
                          <a:pt x="565" y="476"/>
                        </a:lnTo>
                        <a:lnTo>
                          <a:pt x="565" y="476"/>
                        </a:lnTo>
                        <a:lnTo>
                          <a:pt x="563" y="476"/>
                        </a:lnTo>
                        <a:lnTo>
                          <a:pt x="558" y="471"/>
                        </a:lnTo>
                        <a:lnTo>
                          <a:pt x="556" y="469"/>
                        </a:lnTo>
                        <a:lnTo>
                          <a:pt x="553" y="466"/>
                        </a:lnTo>
                        <a:lnTo>
                          <a:pt x="553" y="466"/>
                        </a:lnTo>
                        <a:lnTo>
                          <a:pt x="551" y="466"/>
                        </a:lnTo>
                        <a:lnTo>
                          <a:pt x="551" y="466"/>
                        </a:lnTo>
                        <a:lnTo>
                          <a:pt x="549" y="466"/>
                        </a:lnTo>
                        <a:lnTo>
                          <a:pt x="549" y="466"/>
                        </a:lnTo>
                        <a:lnTo>
                          <a:pt x="544" y="476"/>
                        </a:lnTo>
                        <a:lnTo>
                          <a:pt x="537" y="485"/>
                        </a:lnTo>
                        <a:lnTo>
                          <a:pt x="532" y="492"/>
                        </a:lnTo>
                        <a:lnTo>
                          <a:pt x="532" y="492"/>
                        </a:lnTo>
                        <a:lnTo>
                          <a:pt x="530" y="495"/>
                        </a:lnTo>
                        <a:lnTo>
                          <a:pt x="525" y="495"/>
                        </a:lnTo>
                        <a:lnTo>
                          <a:pt x="520" y="492"/>
                        </a:lnTo>
                        <a:lnTo>
                          <a:pt x="501" y="480"/>
                        </a:lnTo>
                        <a:lnTo>
                          <a:pt x="461" y="447"/>
                        </a:lnTo>
                        <a:lnTo>
                          <a:pt x="456" y="443"/>
                        </a:lnTo>
                        <a:lnTo>
                          <a:pt x="452" y="431"/>
                        </a:lnTo>
                        <a:lnTo>
                          <a:pt x="449" y="426"/>
                        </a:lnTo>
                        <a:lnTo>
                          <a:pt x="447" y="426"/>
                        </a:lnTo>
                        <a:lnTo>
                          <a:pt x="447" y="424"/>
                        </a:lnTo>
                        <a:lnTo>
                          <a:pt x="442" y="421"/>
                        </a:lnTo>
                        <a:lnTo>
                          <a:pt x="438" y="421"/>
                        </a:lnTo>
                        <a:lnTo>
                          <a:pt x="435" y="419"/>
                        </a:lnTo>
                        <a:lnTo>
                          <a:pt x="433" y="419"/>
                        </a:lnTo>
                        <a:lnTo>
                          <a:pt x="430" y="419"/>
                        </a:lnTo>
                        <a:lnTo>
                          <a:pt x="426" y="424"/>
                        </a:lnTo>
                        <a:lnTo>
                          <a:pt x="423" y="424"/>
                        </a:lnTo>
                        <a:lnTo>
                          <a:pt x="423" y="424"/>
                        </a:lnTo>
                        <a:lnTo>
                          <a:pt x="423" y="426"/>
                        </a:lnTo>
                        <a:lnTo>
                          <a:pt x="421" y="428"/>
                        </a:lnTo>
                        <a:lnTo>
                          <a:pt x="421" y="428"/>
                        </a:lnTo>
                        <a:lnTo>
                          <a:pt x="421" y="431"/>
                        </a:lnTo>
                        <a:lnTo>
                          <a:pt x="419" y="431"/>
                        </a:lnTo>
                        <a:lnTo>
                          <a:pt x="416" y="431"/>
                        </a:lnTo>
                        <a:lnTo>
                          <a:pt x="416" y="431"/>
                        </a:lnTo>
                        <a:lnTo>
                          <a:pt x="412" y="428"/>
                        </a:lnTo>
                        <a:lnTo>
                          <a:pt x="376" y="419"/>
                        </a:lnTo>
                        <a:lnTo>
                          <a:pt x="374" y="419"/>
                        </a:lnTo>
                        <a:lnTo>
                          <a:pt x="374" y="416"/>
                        </a:lnTo>
                        <a:lnTo>
                          <a:pt x="374" y="414"/>
                        </a:lnTo>
                        <a:lnTo>
                          <a:pt x="374" y="414"/>
                        </a:lnTo>
                        <a:lnTo>
                          <a:pt x="376" y="412"/>
                        </a:lnTo>
                        <a:lnTo>
                          <a:pt x="376" y="412"/>
                        </a:lnTo>
                        <a:lnTo>
                          <a:pt x="378" y="412"/>
                        </a:lnTo>
                        <a:lnTo>
                          <a:pt x="378" y="412"/>
                        </a:lnTo>
                        <a:lnTo>
                          <a:pt x="378" y="412"/>
                        </a:lnTo>
                        <a:lnTo>
                          <a:pt x="381" y="409"/>
                        </a:lnTo>
                        <a:lnTo>
                          <a:pt x="381" y="407"/>
                        </a:lnTo>
                        <a:lnTo>
                          <a:pt x="383" y="405"/>
                        </a:lnTo>
                        <a:lnTo>
                          <a:pt x="383" y="402"/>
                        </a:lnTo>
                        <a:lnTo>
                          <a:pt x="383" y="400"/>
                        </a:lnTo>
                        <a:lnTo>
                          <a:pt x="383" y="395"/>
                        </a:lnTo>
                        <a:lnTo>
                          <a:pt x="383" y="390"/>
                        </a:lnTo>
                        <a:lnTo>
                          <a:pt x="383" y="388"/>
                        </a:lnTo>
                        <a:lnTo>
                          <a:pt x="381" y="386"/>
                        </a:lnTo>
                        <a:lnTo>
                          <a:pt x="367" y="374"/>
                        </a:lnTo>
                        <a:lnTo>
                          <a:pt x="362" y="369"/>
                        </a:lnTo>
                        <a:lnTo>
                          <a:pt x="357" y="367"/>
                        </a:lnTo>
                        <a:lnTo>
                          <a:pt x="355" y="364"/>
                        </a:lnTo>
                        <a:lnTo>
                          <a:pt x="348" y="362"/>
                        </a:lnTo>
                        <a:lnTo>
                          <a:pt x="336" y="362"/>
                        </a:lnTo>
                        <a:lnTo>
                          <a:pt x="336" y="362"/>
                        </a:lnTo>
                        <a:lnTo>
                          <a:pt x="331" y="357"/>
                        </a:lnTo>
                        <a:lnTo>
                          <a:pt x="324" y="350"/>
                        </a:lnTo>
                        <a:lnTo>
                          <a:pt x="322" y="350"/>
                        </a:lnTo>
                        <a:lnTo>
                          <a:pt x="319" y="353"/>
                        </a:lnTo>
                        <a:lnTo>
                          <a:pt x="296" y="369"/>
                        </a:lnTo>
                        <a:lnTo>
                          <a:pt x="291" y="369"/>
                        </a:lnTo>
                        <a:lnTo>
                          <a:pt x="241" y="376"/>
                        </a:lnTo>
                        <a:lnTo>
                          <a:pt x="239" y="379"/>
                        </a:lnTo>
                        <a:lnTo>
                          <a:pt x="236" y="383"/>
                        </a:lnTo>
                        <a:lnTo>
                          <a:pt x="234" y="388"/>
                        </a:lnTo>
                        <a:lnTo>
                          <a:pt x="232" y="395"/>
                        </a:lnTo>
                        <a:lnTo>
                          <a:pt x="234" y="402"/>
                        </a:lnTo>
                        <a:lnTo>
                          <a:pt x="201" y="398"/>
                        </a:lnTo>
                        <a:lnTo>
                          <a:pt x="189" y="393"/>
                        </a:lnTo>
                        <a:lnTo>
                          <a:pt x="184" y="390"/>
                        </a:lnTo>
                        <a:lnTo>
                          <a:pt x="184" y="390"/>
                        </a:lnTo>
                        <a:lnTo>
                          <a:pt x="182" y="390"/>
                        </a:lnTo>
                        <a:lnTo>
                          <a:pt x="182" y="390"/>
                        </a:lnTo>
                        <a:lnTo>
                          <a:pt x="180" y="393"/>
                        </a:lnTo>
                        <a:lnTo>
                          <a:pt x="177" y="395"/>
                        </a:lnTo>
                        <a:lnTo>
                          <a:pt x="147" y="398"/>
                        </a:lnTo>
                        <a:lnTo>
                          <a:pt x="144" y="398"/>
                        </a:lnTo>
                        <a:lnTo>
                          <a:pt x="142" y="398"/>
                        </a:lnTo>
                        <a:lnTo>
                          <a:pt x="137" y="393"/>
                        </a:lnTo>
                        <a:lnTo>
                          <a:pt x="137" y="390"/>
                        </a:lnTo>
                        <a:lnTo>
                          <a:pt x="135" y="390"/>
                        </a:lnTo>
                        <a:lnTo>
                          <a:pt x="118" y="383"/>
                        </a:lnTo>
                        <a:lnTo>
                          <a:pt x="116" y="383"/>
                        </a:lnTo>
                        <a:lnTo>
                          <a:pt x="116" y="381"/>
                        </a:lnTo>
                        <a:lnTo>
                          <a:pt x="116" y="381"/>
                        </a:lnTo>
                        <a:lnTo>
                          <a:pt x="116" y="379"/>
                        </a:lnTo>
                        <a:lnTo>
                          <a:pt x="116" y="376"/>
                        </a:lnTo>
                        <a:lnTo>
                          <a:pt x="123" y="364"/>
                        </a:lnTo>
                        <a:lnTo>
                          <a:pt x="125" y="362"/>
                        </a:lnTo>
                        <a:lnTo>
                          <a:pt x="128" y="360"/>
                        </a:lnTo>
                        <a:lnTo>
                          <a:pt x="128" y="357"/>
                        </a:lnTo>
                        <a:lnTo>
                          <a:pt x="128" y="357"/>
                        </a:lnTo>
                        <a:lnTo>
                          <a:pt x="128" y="355"/>
                        </a:lnTo>
                        <a:lnTo>
                          <a:pt x="128" y="353"/>
                        </a:lnTo>
                        <a:lnTo>
                          <a:pt x="125" y="350"/>
                        </a:lnTo>
                        <a:lnTo>
                          <a:pt x="125" y="350"/>
                        </a:lnTo>
                        <a:lnTo>
                          <a:pt x="125" y="348"/>
                        </a:lnTo>
                        <a:lnTo>
                          <a:pt x="128" y="346"/>
                        </a:lnTo>
                        <a:lnTo>
                          <a:pt x="130" y="346"/>
                        </a:lnTo>
                        <a:lnTo>
                          <a:pt x="130" y="343"/>
                        </a:lnTo>
                        <a:lnTo>
                          <a:pt x="130" y="343"/>
                        </a:lnTo>
                        <a:lnTo>
                          <a:pt x="130" y="341"/>
                        </a:lnTo>
                        <a:lnTo>
                          <a:pt x="128" y="338"/>
                        </a:lnTo>
                        <a:lnTo>
                          <a:pt x="125" y="336"/>
                        </a:lnTo>
                        <a:lnTo>
                          <a:pt x="123" y="334"/>
                        </a:lnTo>
                        <a:lnTo>
                          <a:pt x="121" y="334"/>
                        </a:lnTo>
                        <a:lnTo>
                          <a:pt x="113" y="331"/>
                        </a:lnTo>
                        <a:lnTo>
                          <a:pt x="102" y="327"/>
                        </a:lnTo>
                        <a:lnTo>
                          <a:pt x="99" y="327"/>
                        </a:lnTo>
                        <a:lnTo>
                          <a:pt x="99" y="327"/>
                        </a:lnTo>
                        <a:lnTo>
                          <a:pt x="97" y="331"/>
                        </a:lnTo>
                        <a:lnTo>
                          <a:pt x="94" y="334"/>
                        </a:lnTo>
                        <a:lnTo>
                          <a:pt x="94" y="334"/>
                        </a:lnTo>
                        <a:lnTo>
                          <a:pt x="92" y="334"/>
                        </a:lnTo>
                        <a:lnTo>
                          <a:pt x="90" y="336"/>
                        </a:lnTo>
                        <a:lnTo>
                          <a:pt x="83" y="322"/>
                        </a:lnTo>
                        <a:lnTo>
                          <a:pt x="78" y="319"/>
                        </a:lnTo>
                        <a:lnTo>
                          <a:pt x="76" y="319"/>
                        </a:lnTo>
                        <a:lnTo>
                          <a:pt x="71" y="319"/>
                        </a:lnTo>
                        <a:lnTo>
                          <a:pt x="66" y="317"/>
                        </a:lnTo>
                        <a:lnTo>
                          <a:pt x="64" y="315"/>
                        </a:lnTo>
                        <a:lnTo>
                          <a:pt x="64" y="315"/>
                        </a:lnTo>
                        <a:lnTo>
                          <a:pt x="61" y="308"/>
                        </a:lnTo>
                        <a:lnTo>
                          <a:pt x="59" y="305"/>
                        </a:lnTo>
                        <a:lnTo>
                          <a:pt x="59" y="305"/>
                        </a:lnTo>
                        <a:lnTo>
                          <a:pt x="59" y="303"/>
                        </a:lnTo>
                        <a:lnTo>
                          <a:pt x="61" y="301"/>
                        </a:lnTo>
                        <a:lnTo>
                          <a:pt x="61" y="301"/>
                        </a:lnTo>
                        <a:lnTo>
                          <a:pt x="61" y="301"/>
                        </a:lnTo>
                        <a:lnTo>
                          <a:pt x="64" y="298"/>
                        </a:lnTo>
                        <a:lnTo>
                          <a:pt x="64" y="296"/>
                        </a:lnTo>
                        <a:lnTo>
                          <a:pt x="64" y="296"/>
                        </a:lnTo>
                        <a:lnTo>
                          <a:pt x="64" y="293"/>
                        </a:lnTo>
                        <a:lnTo>
                          <a:pt x="64" y="293"/>
                        </a:lnTo>
                        <a:lnTo>
                          <a:pt x="66" y="291"/>
                        </a:lnTo>
                        <a:lnTo>
                          <a:pt x="68" y="291"/>
                        </a:lnTo>
                        <a:lnTo>
                          <a:pt x="68" y="289"/>
                        </a:lnTo>
                        <a:lnTo>
                          <a:pt x="68" y="286"/>
                        </a:lnTo>
                        <a:lnTo>
                          <a:pt x="66" y="277"/>
                        </a:lnTo>
                        <a:lnTo>
                          <a:pt x="64" y="275"/>
                        </a:lnTo>
                        <a:lnTo>
                          <a:pt x="61" y="272"/>
                        </a:lnTo>
                        <a:lnTo>
                          <a:pt x="54" y="270"/>
                        </a:lnTo>
                        <a:lnTo>
                          <a:pt x="54" y="270"/>
                        </a:lnTo>
                        <a:lnTo>
                          <a:pt x="52" y="267"/>
                        </a:lnTo>
                        <a:lnTo>
                          <a:pt x="47" y="263"/>
                        </a:lnTo>
                        <a:lnTo>
                          <a:pt x="45" y="260"/>
                        </a:lnTo>
                        <a:lnTo>
                          <a:pt x="40" y="260"/>
                        </a:lnTo>
                        <a:lnTo>
                          <a:pt x="31" y="258"/>
                        </a:lnTo>
                        <a:lnTo>
                          <a:pt x="28" y="256"/>
                        </a:lnTo>
                        <a:lnTo>
                          <a:pt x="12" y="246"/>
                        </a:lnTo>
                        <a:lnTo>
                          <a:pt x="7" y="241"/>
                        </a:lnTo>
                        <a:lnTo>
                          <a:pt x="7" y="241"/>
                        </a:lnTo>
                        <a:lnTo>
                          <a:pt x="5" y="239"/>
                        </a:lnTo>
                        <a:lnTo>
                          <a:pt x="5" y="237"/>
                        </a:lnTo>
                        <a:lnTo>
                          <a:pt x="5" y="232"/>
                        </a:lnTo>
                        <a:lnTo>
                          <a:pt x="5" y="227"/>
                        </a:lnTo>
                        <a:lnTo>
                          <a:pt x="5" y="225"/>
                        </a:lnTo>
                        <a:lnTo>
                          <a:pt x="0" y="213"/>
                        </a:lnTo>
                        <a:lnTo>
                          <a:pt x="0" y="208"/>
                        </a:lnTo>
                        <a:lnTo>
                          <a:pt x="0" y="204"/>
                        </a:lnTo>
                        <a:lnTo>
                          <a:pt x="0" y="201"/>
                        </a:lnTo>
                        <a:lnTo>
                          <a:pt x="0" y="201"/>
                        </a:lnTo>
                        <a:lnTo>
                          <a:pt x="0" y="199"/>
                        </a:lnTo>
                        <a:lnTo>
                          <a:pt x="2" y="196"/>
                        </a:lnTo>
                        <a:lnTo>
                          <a:pt x="2" y="196"/>
                        </a:lnTo>
                        <a:lnTo>
                          <a:pt x="5" y="196"/>
                        </a:lnTo>
                        <a:lnTo>
                          <a:pt x="5" y="194"/>
                        </a:lnTo>
                        <a:lnTo>
                          <a:pt x="7" y="194"/>
                        </a:lnTo>
                        <a:lnTo>
                          <a:pt x="21" y="199"/>
                        </a:lnTo>
                        <a:lnTo>
                          <a:pt x="24" y="199"/>
                        </a:lnTo>
                        <a:lnTo>
                          <a:pt x="26" y="196"/>
                        </a:lnTo>
                        <a:lnTo>
                          <a:pt x="26" y="196"/>
                        </a:lnTo>
                        <a:lnTo>
                          <a:pt x="31" y="192"/>
                        </a:lnTo>
                        <a:lnTo>
                          <a:pt x="31" y="187"/>
                        </a:lnTo>
                        <a:lnTo>
                          <a:pt x="33" y="185"/>
                        </a:lnTo>
                        <a:lnTo>
                          <a:pt x="35" y="185"/>
                        </a:lnTo>
                        <a:lnTo>
                          <a:pt x="38" y="182"/>
                        </a:lnTo>
                        <a:lnTo>
                          <a:pt x="38" y="182"/>
                        </a:lnTo>
                        <a:lnTo>
                          <a:pt x="40" y="180"/>
                        </a:lnTo>
                        <a:lnTo>
                          <a:pt x="42" y="175"/>
                        </a:lnTo>
                        <a:lnTo>
                          <a:pt x="45" y="170"/>
                        </a:lnTo>
                        <a:lnTo>
                          <a:pt x="47" y="168"/>
                        </a:lnTo>
                        <a:lnTo>
                          <a:pt x="50" y="166"/>
                        </a:lnTo>
                        <a:lnTo>
                          <a:pt x="50" y="163"/>
                        </a:lnTo>
                        <a:lnTo>
                          <a:pt x="54" y="161"/>
                        </a:lnTo>
                        <a:lnTo>
                          <a:pt x="57" y="161"/>
                        </a:lnTo>
                        <a:lnTo>
                          <a:pt x="59" y="159"/>
                        </a:lnTo>
                        <a:lnTo>
                          <a:pt x="61" y="154"/>
                        </a:lnTo>
                        <a:lnTo>
                          <a:pt x="61" y="154"/>
                        </a:lnTo>
                        <a:lnTo>
                          <a:pt x="61" y="152"/>
                        </a:lnTo>
                        <a:lnTo>
                          <a:pt x="59" y="152"/>
                        </a:lnTo>
                        <a:lnTo>
                          <a:pt x="52" y="152"/>
                        </a:lnTo>
                        <a:lnTo>
                          <a:pt x="52" y="152"/>
                        </a:lnTo>
                        <a:lnTo>
                          <a:pt x="50" y="152"/>
                        </a:lnTo>
                        <a:lnTo>
                          <a:pt x="47" y="152"/>
                        </a:lnTo>
                        <a:lnTo>
                          <a:pt x="47" y="152"/>
                        </a:lnTo>
                        <a:lnTo>
                          <a:pt x="47" y="149"/>
                        </a:lnTo>
                        <a:lnTo>
                          <a:pt x="45" y="147"/>
                        </a:lnTo>
                        <a:lnTo>
                          <a:pt x="42" y="144"/>
                        </a:lnTo>
                        <a:lnTo>
                          <a:pt x="42" y="137"/>
                        </a:lnTo>
                        <a:lnTo>
                          <a:pt x="42" y="137"/>
                        </a:lnTo>
                        <a:lnTo>
                          <a:pt x="42" y="135"/>
                        </a:lnTo>
                        <a:lnTo>
                          <a:pt x="40" y="133"/>
                        </a:lnTo>
                        <a:lnTo>
                          <a:pt x="40" y="128"/>
                        </a:lnTo>
                        <a:lnTo>
                          <a:pt x="40" y="123"/>
                        </a:lnTo>
                        <a:lnTo>
                          <a:pt x="40" y="121"/>
                        </a:lnTo>
                        <a:lnTo>
                          <a:pt x="40" y="118"/>
                        </a:lnTo>
                        <a:lnTo>
                          <a:pt x="38" y="111"/>
                        </a:lnTo>
                        <a:lnTo>
                          <a:pt x="38" y="109"/>
                        </a:lnTo>
                        <a:lnTo>
                          <a:pt x="38" y="104"/>
                        </a:lnTo>
                        <a:lnTo>
                          <a:pt x="38" y="102"/>
                        </a:lnTo>
                        <a:lnTo>
                          <a:pt x="38" y="99"/>
                        </a:lnTo>
                        <a:lnTo>
                          <a:pt x="40" y="95"/>
                        </a:lnTo>
                        <a:lnTo>
                          <a:pt x="42" y="85"/>
                        </a:lnTo>
                        <a:lnTo>
                          <a:pt x="42" y="83"/>
                        </a:lnTo>
                        <a:lnTo>
                          <a:pt x="42" y="81"/>
                        </a:lnTo>
                        <a:lnTo>
                          <a:pt x="42" y="78"/>
                        </a:lnTo>
                        <a:lnTo>
                          <a:pt x="40" y="62"/>
                        </a:lnTo>
                        <a:lnTo>
                          <a:pt x="40" y="59"/>
                        </a:lnTo>
                        <a:lnTo>
                          <a:pt x="47" y="59"/>
                        </a:lnTo>
                        <a:lnTo>
                          <a:pt x="83" y="52"/>
                        </a:lnTo>
                        <a:lnTo>
                          <a:pt x="121" y="55"/>
                        </a:lnTo>
                        <a:lnTo>
                          <a:pt x="135" y="52"/>
                        </a:lnTo>
                        <a:lnTo>
                          <a:pt x="184" y="33"/>
                        </a:lnTo>
                        <a:lnTo>
                          <a:pt x="234" y="26"/>
                        </a:lnTo>
                        <a:lnTo>
                          <a:pt x="310" y="0"/>
                        </a:lnTo>
                        <a:lnTo>
                          <a:pt x="338" y="2"/>
                        </a:lnTo>
                        <a:lnTo>
                          <a:pt x="338" y="2"/>
                        </a:lnTo>
                        <a:lnTo>
                          <a:pt x="348" y="5"/>
                        </a:lnTo>
                        <a:lnTo>
                          <a:pt x="355" y="14"/>
                        </a:lnTo>
                        <a:lnTo>
                          <a:pt x="362" y="12"/>
                        </a:lnTo>
                        <a:lnTo>
                          <a:pt x="362" y="19"/>
                        </a:lnTo>
                        <a:lnTo>
                          <a:pt x="364" y="26"/>
                        </a:lnTo>
                        <a:lnTo>
                          <a:pt x="371" y="43"/>
                        </a:lnTo>
                        <a:lnTo>
                          <a:pt x="371" y="47"/>
                        </a:lnTo>
                        <a:lnTo>
                          <a:pt x="374" y="55"/>
                        </a:lnTo>
                        <a:lnTo>
                          <a:pt x="371" y="59"/>
                        </a:lnTo>
                        <a:lnTo>
                          <a:pt x="367" y="69"/>
                        </a:lnTo>
                        <a:lnTo>
                          <a:pt x="362" y="76"/>
                        </a:lnTo>
                        <a:lnTo>
                          <a:pt x="357" y="78"/>
                        </a:lnTo>
                        <a:lnTo>
                          <a:pt x="350" y="83"/>
                        </a:lnTo>
                        <a:lnTo>
                          <a:pt x="348" y="88"/>
                        </a:lnTo>
                        <a:lnTo>
                          <a:pt x="341" y="99"/>
                        </a:lnTo>
                        <a:lnTo>
                          <a:pt x="331" y="111"/>
                        </a:lnTo>
                        <a:lnTo>
                          <a:pt x="303" y="135"/>
                        </a:lnTo>
                        <a:lnTo>
                          <a:pt x="298" y="147"/>
                        </a:lnTo>
                        <a:lnTo>
                          <a:pt x="298" y="163"/>
                        </a:lnTo>
                        <a:lnTo>
                          <a:pt x="303" y="180"/>
                        </a:lnTo>
                        <a:lnTo>
                          <a:pt x="310" y="192"/>
                        </a:lnTo>
                        <a:lnTo>
                          <a:pt x="317" y="201"/>
                        </a:lnTo>
                        <a:lnTo>
                          <a:pt x="329" y="208"/>
                        </a:lnTo>
                        <a:lnTo>
                          <a:pt x="350" y="218"/>
                        </a:lnTo>
                        <a:lnTo>
                          <a:pt x="369" y="220"/>
                        </a:lnTo>
                        <a:lnTo>
                          <a:pt x="376" y="222"/>
                        </a:lnTo>
                        <a:lnTo>
                          <a:pt x="381" y="225"/>
                        </a:lnTo>
                        <a:lnTo>
                          <a:pt x="442" y="241"/>
                        </a:lnTo>
                        <a:lnTo>
                          <a:pt x="497" y="258"/>
                        </a:lnTo>
                        <a:lnTo>
                          <a:pt x="516" y="260"/>
                        </a:lnTo>
                        <a:lnTo>
                          <a:pt x="523" y="263"/>
                        </a:lnTo>
                        <a:lnTo>
                          <a:pt x="530" y="267"/>
                        </a:lnTo>
                        <a:lnTo>
                          <a:pt x="542" y="272"/>
                        </a:lnTo>
                        <a:lnTo>
                          <a:pt x="620" y="284"/>
                        </a:lnTo>
                        <a:lnTo>
                          <a:pt x="629" y="286"/>
                        </a:lnTo>
                        <a:lnTo>
                          <a:pt x="629" y="286"/>
                        </a:lnTo>
                        <a:lnTo>
                          <a:pt x="629" y="284"/>
                        </a:lnTo>
                        <a:lnTo>
                          <a:pt x="632" y="284"/>
                        </a:lnTo>
                        <a:lnTo>
                          <a:pt x="639" y="289"/>
                        </a:lnTo>
                        <a:lnTo>
                          <a:pt x="695" y="296"/>
                        </a:lnTo>
                        <a:lnTo>
                          <a:pt x="745" y="310"/>
                        </a:lnTo>
                        <a:lnTo>
                          <a:pt x="771" y="322"/>
                        </a:lnTo>
                        <a:lnTo>
                          <a:pt x="783" y="331"/>
                        </a:lnTo>
                        <a:lnTo>
                          <a:pt x="800" y="346"/>
                        </a:lnTo>
                        <a:lnTo>
                          <a:pt x="804" y="348"/>
                        </a:lnTo>
                        <a:lnTo>
                          <a:pt x="809" y="348"/>
                        </a:lnTo>
                        <a:lnTo>
                          <a:pt x="823" y="355"/>
                        </a:lnTo>
                        <a:lnTo>
                          <a:pt x="844" y="372"/>
                        </a:lnTo>
                        <a:lnTo>
                          <a:pt x="852" y="374"/>
                        </a:lnTo>
                        <a:lnTo>
                          <a:pt x="859" y="374"/>
                        </a:lnTo>
                        <a:lnTo>
                          <a:pt x="871" y="379"/>
                        </a:lnTo>
                        <a:lnTo>
                          <a:pt x="899" y="379"/>
                        </a:lnTo>
                        <a:lnTo>
                          <a:pt x="901" y="381"/>
                        </a:lnTo>
                        <a:lnTo>
                          <a:pt x="937" y="388"/>
                        </a:lnTo>
                        <a:lnTo>
                          <a:pt x="970" y="402"/>
                        </a:lnTo>
                        <a:lnTo>
                          <a:pt x="996" y="402"/>
                        </a:lnTo>
                        <a:lnTo>
                          <a:pt x="1008" y="405"/>
                        </a:lnTo>
                        <a:lnTo>
                          <a:pt x="1008" y="414"/>
                        </a:lnTo>
                        <a:lnTo>
                          <a:pt x="1012" y="414"/>
                        </a:lnTo>
                        <a:lnTo>
                          <a:pt x="1020" y="409"/>
                        </a:lnTo>
                        <a:lnTo>
                          <a:pt x="1024" y="409"/>
                        </a:lnTo>
                        <a:lnTo>
                          <a:pt x="1027" y="412"/>
                        </a:lnTo>
                        <a:lnTo>
                          <a:pt x="1027" y="416"/>
                        </a:lnTo>
                        <a:lnTo>
                          <a:pt x="1029" y="419"/>
                        </a:lnTo>
                        <a:lnTo>
                          <a:pt x="1038" y="424"/>
                        </a:lnTo>
                        <a:lnTo>
                          <a:pt x="1041" y="426"/>
                        </a:lnTo>
                        <a:lnTo>
                          <a:pt x="1043" y="447"/>
                        </a:lnTo>
                        <a:lnTo>
                          <a:pt x="1072" y="461"/>
                        </a:lnTo>
                        <a:lnTo>
                          <a:pt x="1105" y="473"/>
                        </a:lnTo>
                        <a:lnTo>
                          <a:pt x="1109" y="471"/>
                        </a:lnTo>
                        <a:lnTo>
                          <a:pt x="1112" y="473"/>
                        </a:lnTo>
                        <a:lnTo>
                          <a:pt x="1121" y="483"/>
                        </a:lnTo>
                        <a:lnTo>
                          <a:pt x="1126" y="485"/>
                        </a:lnTo>
                        <a:lnTo>
                          <a:pt x="1138" y="492"/>
                        </a:lnTo>
                        <a:lnTo>
                          <a:pt x="1150" y="504"/>
                        </a:lnTo>
                        <a:lnTo>
                          <a:pt x="1154" y="509"/>
                        </a:lnTo>
                        <a:lnTo>
                          <a:pt x="1162" y="511"/>
                        </a:lnTo>
                        <a:lnTo>
                          <a:pt x="1164" y="513"/>
                        </a:lnTo>
                        <a:lnTo>
                          <a:pt x="1190" y="537"/>
                        </a:lnTo>
                        <a:lnTo>
                          <a:pt x="1221" y="582"/>
                        </a:lnTo>
                        <a:lnTo>
                          <a:pt x="1223" y="582"/>
                        </a:lnTo>
                        <a:lnTo>
                          <a:pt x="1223" y="584"/>
                        </a:lnTo>
                        <a:lnTo>
                          <a:pt x="1225" y="584"/>
                        </a:lnTo>
                        <a:lnTo>
                          <a:pt x="1225" y="592"/>
                        </a:lnTo>
                        <a:lnTo>
                          <a:pt x="1228" y="594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34" name="Freeform 31">
                    <a:extLst>
                      <a:ext uri="{FF2B5EF4-FFF2-40B4-BE49-F238E27FC236}">
                        <a16:creationId xmlns:a16="http://schemas.microsoft.com/office/drawing/2014/main" id="{32920F27-0A53-4257-BA46-B4595B4E938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6103503" y="5434412"/>
                    <a:ext cx="1480890" cy="1955028"/>
                  </a:xfrm>
                  <a:custGeom>
                    <a:avLst/>
                    <a:gdLst>
                      <a:gd name="T0" fmla="*/ 989 w 1164"/>
                      <a:gd name="T1" fmla="*/ 14 h 1538"/>
                      <a:gd name="T2" fmla="*/ 989 w 1164"/>
                      <a:gd name="T3" fmla="*/ 0 h 1538"/>
                      <a:gd name="T4" fmla="*/ 327 w 1164"/>
                      <a:gd name="T5" fmla="*/ 163 h 1538"/>
                      <a:gd name="T6" fmla="*/ 788 w 1164"/>
                      <a:gd name="T7" fmla="*/ 144 h 1538"/>
                      <a:gd name="T8" fmla="*/ 727 w 1164"/>
                      <a:gd name="T9" fmla="*/ 161 h 1538"/>
                      <a:gd name="T10" fmla="*/ 395 w 1164"/>
                      <a:gd name="T11" fmla="*/ 1372 h 1538"/>
                      <a:gd name="T12" fmla="*/ 14 w 1164"/>
                      <a:gd name="T13" fmla="*/ 537 h 1538"/>
                      <a:gd name="T14" fmla="*/ 334 w 1164"/>
                      <a:gd name="T15" fmla="*/ 1528 h 1538"/>
                      <a:gd name="T16" fmla="*/ 303 w 1164"/>
                      <a:gd name="T17" fmla="*/ 1533 h 1538"/>
                      <a:gd name="T18" fmla="*/ 334 w 1164"/>
                      <a:gd name="T19" fmla="*/ 1528 h 1538"/>
                      <a:gd name="T20" fmla="*/ 892 w 1164"/>
                      <a:gd name="T21" fmla="*/ 125 h 1538"/>
                      <a:gd name="T22" fmla="*/ 43 w 1164"/>
                      <a:gd name="T23" fmla="*/ 1039 h 1538"/>
                      <a:gd name="T24" fmla="*/ 38 w 1164"/>
                      <a:gd name="T25" fmla="*/ 1008 h 1538"/>
                      <a:gd name="T26" fmla="*/ 932 w 1164"/>
                      <a:gd name="T27" fmla="*/ 173 h 1538"/>
                      <a:gd name="T28" fmla="*/ 935 w 1164"/>
                      <a:gd name="T29" fmla="*/ 194 h 1538"/>
                      <a:gd name="T30" fmla="*/ 930 w 1164"/>
                      <a:gd name="T31" fmla="*/ 149 h 1538"/>
                      <a:gd name="T32" fmla="*/ 918 w 1164"/>
                      <a:gd name="T33" fmla="*/ 163 h 1538"/>
                      <a:gd name="T34" fmla="*/ 1141 w 1164"/>
                      <a:gd name="T35" fmla="*/ 222 h 1538"/>
                      <a:gd name="T36" fmla="*/ 1131 w 1164"/>
                      <a:gd name="T37" fmla="*/ 192 h 1538"/>
                      <a:gd name="T38" fmla="*/ 1046 w 1164"/>
                      <a:gd name="T39" fmla="*/ 248 h 1538"/>
                      <a:gd name="T40" fmla="*/ 1032 w 1164"/>
                      <a:gd name="T41" fmla="*/ 232 h 1538"/>
                      <a:gd name="T42" fmla="*/ 982 w 1164"/>
                      <a:gd name="T43" fmla="*/ 291 h 1538"/>
                      <a:gd name="T44" fmla="*/ 937 w 1164"/>
                      <a:gd name="T45" fmla="*/ 279 h 1538"/>
                      <a:gd name="T46" fmla="*/ 864 w 1164"/>
                      <a:gd name="T47" fmla="*/ 319 h 1538"/>
                      <a:gd name="T48" fmla="*/ 693 w 1164"/>
                      <a:gd name="T49" fmla="*/ 390 h 1538"/>
                      <a:gd name="T50" fmla="*/ 615 w 1164"/>
                      <a:gd name="T51" fmla="*/ 412 h 1538"/>
                      <a:gd name="T52" fmla="*/ 552 w 1164"/>
                      <a:gd name="T53" fmla="*/ 433 h 1538"/>
                      <a:gd name="T54" fmla="*/ 490 w 1164"/>
                      <a:gd name="T55" fmla="*/ 397 h 1538"/>
                      <a:gd name="T56" fmla="*/ 412 w 1164"/>
                      <a:gd name="T57" fmla="*/ 359 h 1538"/>
                      <a:gd name="T58" fmla="*/ 384 w 1164"/>
                      <a:gd name="T59" fmla="*/ 376 h 1538"/>
                      <a:gd name="T60" fmla="*/ 339 w 1164"/>
                      <a:gd name="T61" fmla="*/ 393 h 1538"/>
                      <a:gd name="T62" fmla="*/ 324 w 1164"/>
                      <a:gd name="T63" fmla="*/ 440 h 1538"/>
                      <a:gd name="T64" fmla="*/ 232 w 1164"/>
                      <a:gd name="T65" fmla="*/ 412 h 1538"/>
                      <a:gd name="T66" fmla="*/ 211 w 1164"/>
                      <a:gd name="T67" fmla="*/ 435 h 1538"/>
                      <a:gd name="T68" fmla="*/ 161 w 1164"/>
                      <a:gd name="T69" fmla="*/ 478 h 1538"/>
                      <a:gd name="T70" fmla="*/ 149 w 1164"/>
                      <a:gd name="T71" fmla="*/ 535 h 1538"/>
                      <a:gd name="T72" fmla="*/ 152 w 1164"/>
                      <a:gd name="T73" fmla="*/ 570 h 1538"/>
                      <a:gd name="T74" fmla="*/ 156 w 1164"/>
                      <a:gd name="T75" fmla="*/ 606 h 1538"/>
                      <a:gd name="T76" fmla="*/ 223 w 1164"/>
                      <a:gd name="T77" fmla="*/ 662 h 1538"/>
                      <a:gd name="T78" fmla="*/ 350 w 1164"/>
                      <a:gd name="T79" fmla="*/ 672 h 1538"/>
                      <a:gd name="T80" fmla="*/ 419 w 1164"/>
                      <a:gd name="T81" fmla="*/ 681 h 1538"/>
                      <a:gd name="T82" fmla="*/ 464 w 1164"/>
                      <a:gd name="T83" fmla="*/ 714 h 1538"/>
                      <a:gd name="T84" fmla="*/ 604 w 1164"/>
                      <a:gd name="T85" fmla="*/ 774 h 1538"/>
                      <a:gd name="T86" fmla="*/ 731 w 1164"/>
                      <a:gd name="T87" fmla="*/ 776 h 1538"/>
                      <a:gd name="T88" fmla="*/ 916 w 1164"/>
                      <a:gd name="T89" fmla="*/ 885 h 1538"/>
                      <a:gd name="T90" fmla="*/ 987 w 1164"/>
                      <a:gd name="T91" fmla="*/ 908 h 1538"/>
                      <a:gd name="T92" fmla="*/ 1065 w 1164"/>
                      <a:gd name="T93" fmla="*/ 892 h 1538"/>
                      <a:gd name="T94" fmla="*/ 1096 w 1164"/>
                      <a:gd name="T95" fmla="*/ 866 h 1538"/>
                      <a:gd name="T96" fmla="*/ 1117 w 1164"/>
                      <a:gd name="T97" fmla="*/ 769 h 1538"/>
                      <a:gd name="T98" fmla="*/ 1141 w 1164"/>
                      <a:gd name="T99" fmla="*/ 743 h 1538"/>
                      <a:gd name="T100" fmla="*/ 1129 w 1164"/>
                      <a:gd name="T101" fmla="*/ 726 h 1538"/>
                      <a:gd name="T102" fmla="*/ 1105 w 1164"/>
                      <a:gd name="T103" fmla="*/ 693 h 1538"/>
                      <a:gd name="T104" fmla="*/ 1091 w 1164"/>
                      <a:gd name="T105" fmla="*/ 653 h 1538"/>
                      <a:gd name="T106" fmla="*/ 1098 w 1164"/>
                      <a:gd name="T107" fmla="*/ 639 h 1538"/>
                      <a:gd name="T108" fmla="*/ 1039 w 1164"/>
                      <a:gd name="T109" fmla="*/ 556 h 1538"/>
                      <a:gd name="T110" fmla="*/ 1063 w 1164"/>
                      <a:gd name="T111" fmla="*/ 461 h 1538"/>
                      <a:gd name="T112" fmla="*/ 1100 w 1164"/>
                      <a:gd name="T113" fmla="*/ 338 h 1538"/>
                      <a:gd name="T114" fmla="*/ 116 w 1164"/>
                      <a:gd name="T115" fmla="*/ 532 h 1538"/>
                      <a:gd name="T116" fmla="*/ 88 w 1164"/>
                      <a:gd name="T117" fmla="*/ 530 h 153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1164" h="1538">
                        <a:moveTo>
                          <a:pt x="989" y="0"/>
                        </a:moveTo>
                        <a:lnTo>
                          <a:pt x="989" y="0"/>
                        </a:lnTo>
                        <a:lnTo>
                          <a:pt x="992" y="0"/>
                        </a:lnTo>
                        <a:lnTo>
                          <a:pt x="994" y="0"/>
                        </a:lnTo>
                        <a:lnTo>
                          <a:pt x="994" y="5"/>
                        </a:lnTo>
                        <a:lnTo>
                          <a:pt x="992" y="7"/>
                        </a:lnTo>
                        <a:lnTo>
                          <a:pt x="992" y="9"/>
                        </a:lnTo>
                        <a:lnTo>
                          <a:pt x="992" y="14"/>
                        </a:lnTo>
                        <a:lnTo>
                          <a:pt x="989" y="14"/>
                        </a:lnTo>
                        <a:lnTo>
                          <a:pt x="984" y="14"/>
                        </a:lnTo>
                        <a:lnTo>
                          <a:pt x="977" y="9"/>
                        </a:lnTo>
                        <a:lnTo>
                          <a:pt x="977" y="9"/>
                        </a:lnTo>
                        <a:lnTo>
                          <a:pt x="980" y="7"/>
                        </a:lnTo>
                        <a:lnTo>
                          <a:pt x="982" y="5"/>
                        </a:lnTo>
                        <a:lnTo>
                          <a:pt x="984" y="2"/>
                        </a:lnTo>
                        <a:lnTo>
                          <a:pt x="984" y="0"/>
                        </a:lnTo>
                        <a:lnTo>
                          <a:pt x="987" y="0"/>
                        </a:lnTo>
                        <a:lnTo>
                          <a:pt x="989" y="0"/>
                        </a:lnTo>
                        <a:close/>
                        <a:moveTo>
                          <a:pt x="332" y="156"/>
                        </a:moveTo>
                        <a:lnTo>
                          <a:pt x="332" y="156"/>
                        </a:lnTo>
                        <a:lnTo>
                          <a:pt x="336" y="156"/>
                        </a:lnTo>
                        <a:lnTo>
                          <a:pt x="339" y="158"/>
                        </a:lnTo>
                        <a:lnTo>
                          <a:pt x="341" y="158"/>
                        </a:lnTo>
                        <a:lnTo>
                          <a:pt x="334" y="165"/>
                        </a:lnTo>
                        <a:lnTo>
                          <a:pt x="332" y="168"/>
                        </a:lnTo>
                        <a:lnTo>
                          <a:pt x="327" y="168"/>
                        </a:lnTo>
                        <a:lnTo>
                          <a:pt x="327" y="163"/>
                        </a:lnTo>
                        <a:lnTo>
                          <a:pt x="327" y="161"/>
                        </a:lnTo>
                        <a:lnTo>
                          <a:pt x="332" y="156"/>
                        </a:lnTo>
                        <a:close/>
                        <a:moveTo>
                          <a:pt x="795" y="137"/>
                        </a:moveTo>
                        <a:lnTo>
                          <a:pt x="795" y="137"/>
                        </a:lnTo>
                        <a:lnTo>
                          <a:pt x="798" y="139"/>
                        </a:lnTo>
                        <a:lnTo>
                          <a:pt x="800" y="142"/>
                        </a:lnTo>
                        <a:lnTo>
                          <a:pt x="800" y="144"/>
                        </a:lnTo>
                        <a:lnTo>
                          <a:pt x="795" y="144"/>
                        </a:lnTo>
                        <a:lnTo>
                          <a:pt x="788" y="144"/>
                        </a:lnTo>
                        <a:lnTo>
                          <a:pt x="786" y="139"/>
                        </a:lnTo>
                        <a:lnTo>
                          <a:pt x="783" y="135"/>
                        </a:lnTo>
                        <a:lnTo>
                          <a:pt x="786" y="132"/>
                        </a:lnTo>
                        <a:lnTo>
                          <a:pt x="790" y="135"/>
                        </a:lnTo>
                        <a:lnTo>
                          <a:pt x="795" y="137"/>
                        </a:lnTo>
                        <a:close/>
                        <a:moveTo>
                          <a:pt x="724" y="168"/>
                        </a:moveTo>
                        <a:lnTo>
                          <a:pt x="724" y="168"/>
                        </a:lnTo>
                        <a:lnTo>
                          <a:pt x="722" y="163"/>
                        </a:lnTo>
                        <a:lnTo>
                          <a:pt x="727" y="161"/>
                        </a:lnTo>
                        <a:lnTo>
                          <a:pt x="729" y="165"/>
                        </a:lnTo>
                        <a:lnTo>
                          <a:pt x="724" y="168"/>
                        </a:lnTo>
                        <a:close/>
                        <a:moveTo>
                          <a:pt x="393" y="1365"/>
                        </a:moveTo>
                        <a:lnTo>
                          <a:pt x="393" y="1365"/>
                        </a:lnTo>
                        <a:lnTo>
                          <a:pt x="398" y="1365"/>
                        </a:lnTo>
                        <a:lnTo>
                          <a:pt x="400" y="1367"/>
                        </a:lnTo>
                        <a:lnTo>
                          <a:pt x="400" y="1370"/>
                        </a:lnTo>
                        <a:lnTo>
                          <a:pt x="400" y="1372"/>
                        </a:lnTo>
                        <a:lnTo>
                          <a:pt x="395" y="1372"/>
                        </a:lnTo>
                        <a:lnTo>
                          <a:pt x="393" y="1372"/>
                        </a:lnTo>
                        <a:lnTo>
                          <a:pt x="391" y="1370"/>
                        </a:lnTo>
                        <a:lnTo>
                          <a:pt x="391" y="1367"/>
                        </a:lnTo>
                        <a:lnTo>
                          <a:pt x="393" y="1365"/>
                        </a:lnTo>
                        <a:lnTo>
                          <a:pt x="393" y="1365"/>
                        </a:lnTo>
                        <a:close/>
                        <a:moveTo>
                          <a:pt x="17" y="532"/>
                        </a:moveTo>
                        <a:lnTo>
                          <a:pt x="17" y="532"/>
                        </a:lnTo>
                        <a:lnTo>
                          <a:pt x="19" y="535"/>
                        </a:lnTo>
                        <a:lnTo>
                          <a:pt x="14" y="537"/>
                        </a:lnTo>
                        <a:lnTo>
                          <a:pt x="7" y="532"/>
                        </a:lnTo>
                        <a:lnTo>
                          <a:pt x="3" y="527"/>
                        </a:lnTo>
                        <a:lnTo>
                          <a:pt x="0" y="523"/>
                        </a:lnTo>
                        <a:lnTo>
                          <a:pt x="3" y="520"/>
                        </a:lnTo>
                        <a:lnTo>
                          <a:pt x="7" y="518"/>
                        </a:lnTo>
                        <a:lnTo>
                          <a:pt x="12" y="520"/>
                        </a:lnTo>
                        <a:lnTo>
                          <a:pt x="14" y="527"/>
                        </a:lnTo>
                        <a:lnTo>
                          <a:pt x="17" y="532"/>
                        </a:lnTo>
                        <a:close/>
                        <a:moveTo>
                          <a:pt x="334" y="1528"/>
                        </a:moveTo>
                        <a:lnTo>
                          <a:pt x="334" y="1528"/>
                        </a:lnTo>
                        <a:lnTo>
                          <a:pt x="334" y="1533"/>
                        </a:lnTo>
                        <a:lnTo>
                          <a:pt x="334" y="1535"/>
                        </a:lnTo>
                        <a:lnTo>
                          <a:pt x="332" y="1538"/>
                        </a:lnTo>
                        <a:lnTo>
                          <a:pt x="329" y="1538"/>
                        </a:lnTo>
                        <a:lnTo>
                          <a:pt x="327" y="1535"/>
                        </a:lnTo>
                        <a:lnTo>
                          <a:pt x="324" y="1538"/>
                        </a:lnTo>
                        <a:lnTo>
                          <a:pt x="310" y="1533"/>
                        </a:lnTo>
                        <a:lnTo>
                          <a:pt x="303" y="1533"/>
                        </a:lnTo>
                        <a:lnTo>
                          <a:pt x="301" y="1531"/>
                        </a:lnTo>
                        <a:lnTo>
                          <a:pt x="303" y="1528"/>
                        </a:lnTo>
                        <a:lnTo>
                          <a:pt x="310" y="1528"/>
                        </a:lnTo>
                        <a:lnTo>
                          <a:pt x="315" y="1528"/>
                        </a:lnTo>
                        <a:lnTo>
                          <a:pt x="329" y="1526"/>
                        </a:lnTo>
                        <a:lnTo>
                          <a:pt x="334" y="1528"/>
                        </a:lnTo>
                        <a:lnTo>
                          <a:pt x="334" y="1528"/>
                        </a:lnTo>
                        <a:lnTo>
                          <a:pt x="334" y="1528"/>
                        </a:lnTo>
                        <a:lnTo>
                          <a:pt x="334" y="1528"/>
                        </a:lnTo>
                        <a:close/>
                        <a:moveTo>
                          <a:pt x="878" y="132"/>
                        </a:moveTo>
                        <a:lnTo>
                          <a:pt x="878" y="132"/>
                        </a:lnTo>
                        <a:lnTo>
                          <a:pt x="866" y="125"/>
                        </a:lnTo>
                        <a:lnTo>
                          <a:pt x="873" y="118"/>
                        </a:lnTo>
                        <a:lnTo>
                          <a:pt x="883" y="116"/>
                        </a:lnTo>
                        <a:lnTo>
                          <a:pt x="890" y="116"/>
                        </a:lnTo>
                        <a:lnTo>
                          <a:pt x="892" y="121"/>
                        </a:lnTo>
                        <a:lnTo>
                          <a:pt x="892" y="123"/>
                        </a:lnTo>
                        <a:lnTo>
                          <a:pt x="892" y="125"/>
                        </a:lnTo>
                        <a:lnTo>
                          <a:pt x="890" y="130"/>
                        </a:lnTo>
                        <a:lnTo>
                          <a:pt x="890" y="135"/>
                        </a:lnTo>
                        <a:lnTo>
                          <a:pt x="878" y="132"/>
                        </a:lnTo>
                        <a:close/>
                        <a:moveTo>
                          <a:pt x="71" y="1022"/>
                        </a:moveTo>
                        <a:lnTo>
                          <a:pt x="71" y="1022"/>
                        </a:lnTo>
                        <a:lnTo>
                          <a:pt x="74" y="1031"/>
                        </a:lnTo>
                        <a:lnTo>
                          <a:pt x="69" y="1046"/>
                        </a:lnTo>
                        <a:lnTo>
                          <a:pt x="57" y="1046"/>
                        </a:lnTo>
                        <a:lnTo>
                          <a:pt x="43" y="1039"/>
                        </a:lnTo>
                        <a:lnTo>
                          <a:pt x="33" y="1029"/>
                        </a:lnTo>
                        <a:lnTo>
                          <a:pt x="33" y="1027"/>
                        </a:lnTo>
                        <a:lnTo>
                          <a:pt x="29" y="1020"/>
                        </a:lnTo>
                        <a:lnTo>
                          <a:pt x="26" y="1012"/>
                        </a:lnTo>
                        <a:lnTo>
                          <a:pt x="31" y="1010"/>
                        </a:lnTo>
                        <a:lnTo>
                          <a:pt x="33" y="1010"/>
                        </a:lnTo>
                        <a:lnTo>
                          <a:pt x="33" y="1008"/>
                        </a:lnTo>
                        <a:lnTo>
                          <a:pt x="36" y="1005"/>
                        </a:lnTo>
                        <a:lnTo>
                          <a:pt x="38" y="1008"/>
                        </a:lnTo>
                        <a:lnTo>
                          <a:pt x="43" y="1010"/>
                        </a:lnTo>
                        <a:lnTo>
                          <a:pt x="43" y="1010"/>
                        </a:lnTo>
                        <a:lnTo>
                          <a:pt x="48" y="1010"/>
                        </a:lnTo>
                        <a:lnTo>
                          <a:pt x="50" y="1012"/>
                        </a:lnTo>
                        <a:lnTo>
                          <a:pt x="50" y="1012"/>
                        </a:lnTo>
                        <a:lnTo>
                          <a:pt x="52" y="1008"/>
                        </a:lnTo>
                        <a:lnTo>
                          <a:pt x="67" y="1017"/>
                        </a:lnTo>
                        <a:lnTo>
                          <a:pt x="71" y="1022"/>
                        </a:lnTo>
                        <a:close/>
                        <a:moveTo>
                          <a:pt x="932" y="173"/>
                        </a:moveTo>
                        <a:lnTo>
                          <a:pt x="932" y="173"/>
                        </a:lnTo>
                        <a:lnTo>
                          <a:pt x="932" y="180"/>
                        </a:lnTo>
                        <a:lnTo>
                          <a:pt x="937" y="180"/>
                        </a:lnTo>
                        <a:lnTo>
                          <a:pt x="942" y="184"/>
                        </a:lnTo>
                        <a:lnTo>
                          <a:pt x="947" y="189"/>
                        </a:lnTo>
                        <a:lnTo>
                          <a:pt x="949" y="194"/>
                        </a:lnTo>
                        <a:lnTo>
                          <a:pt x="947" y="196"/>
                        </a:lnTo>
                        <a:lnTo>
                          <a:pt x="942" y="201"/>
                        </a:lnTo>
                        <a:lnTo>
                          <a:pt x="935" y="194"/>
                        </a:lnTo>
                        <a:lnTo>
                          <a:pt x="928" y="189"/>
                        </a:lnTo>
                        <a:lnTo>
                          <a:pt x="925" y="182"/>
                        </a:lnTo>
                        <a:lnTo>
                          <a:pt x="930" y="173"/>
                        </a:lnTo>
                        <a:lnTo>
                          <a:pt x="932" y="173"/>
                        </a:lnTo>
                        <a:close/>
                        <a:moveTo>
                          <a:pt x="925" y="137"/>
                        </a:moveTo>
                        <a:lnTo>
                          <a:pt x="925" y="137"/>
                        </a:lnTo>
                        <a:lnTo>
                          <a:pt x="925" y="144"/>
                        </a:lnTo>
                        <a:lnTo>
                          <a:pt x="928" y="147"/>
                        </a:lnTo>
                        <a:lnTo>
                          <a:pt x="930" y="149"/>
                        </a:lnTo>
                        <a:lnTo>
                          <a:pt x="932" y="149"/>
                        </a:lnTo>
                        <a:lnTo>
                          <a:pt x="932" y="151"/>
                        </a:lnTo>
                        <a:lnTo>
                          <a:pt x="923" y="154"/>
                        </a:lnTo>
                        <a:lnTo>
                          <a:pt x="925" y="158"/>
                        </a:lnTo>
                        <a:lnTo>
                          <a:pt x="928" y="161"/>
                        </a:lnTo>
                        <a:lnTo>
                          <a:pt x="930" y="161"/>
                        </a:lnTo>
                        <a:lnTo>
                          <a:pt x="930" y="163"/>
                        </a:lnTo>
                        <a:lnTo>
                          <a:pt x="925" y="165"/>
                        </a:lnTo>
                        <a:lnTo>
                          <a:pt x="918" y="163"/>
                        </a:lnTo>
                        <a:lnTo>
                          <a:pt x="914" y="161"/>
                        </a:lnTo>
                        <a:lnTo>
                          <a:pt x="909" y="158"/>
                        </a:lnTo>
                        <a:lnTo>
                          <a:pt x="906" y="156"/>
                        </a:lnTo>
                        <a:lnTo>
                          <a:pt x="906" y="149"/>
                        </a:lnTo>
                        <a:lnTo>
                          <a:pt x="906" y="142"/>
                        </a:lnTo>
                        <a:lnTo>
                          <a:pt x="911" y="137"/>
                        </a:lnTo>
                        <a:lnTo>
                          <a:pt x="923" y="137"/>
                        </a:lnTo>
                        <a:lnTo>
                          <a:pt x="925" y="137"/>
                        </a:lnTo>
                        <a:close/>
                        <a:moveTo>
                          <a:pt x="1141" y="222"/>
                        </a:moveTo>
                        <a:lnTo>
                          <a:pt x="1141" y="222"/>
                        </a:lnTo>
                        <a:lnTo>
                          <a:pt x="1145" y="215"/>
                        </a:lnTo>
                        <a:lnTo>
                          <a:pt x="1157" y="203"/>
                        </a:lnTo>
                        <a:lnTo>
                          <a:pt x="1160" y="203"/>
                        </a:lnTo>
                        <a:lnTo>
                          <a:pt x="1162" y="201"/>
                        </a:lnTo>
                        <a:lnTo>
                          <a:pt x="1164" y="199"/>
                        </a:lnTo>
                        <a:lnTo>
                          <a:pt x="1164" y="196"/>
                        </a:lnTo>
                        <a:lnTo>
                          <a:pt x="1152" y="196"/>
                        </a:lnTo>
                        <a:lnTo>
                          <a:pt x="1131" y="192"/>
                        </a:lnTo>
                        <a:lnTo>
                          <a:pt x="1122" y="192"/>
                        </a:lnTo>
                        <a:lnTo>
                          <a:pt x="1117" y="196"/>
                        </a:lnTo>
                        <a:lnTo>
                          <a:pt x="1108" y="210"/>
                        </a:lnTo>
                        <a:lnTo>
                          <a:pt x="1096" y="220"/>
                        </a:lnTo>
                        <a:lnTo>
                          <a:pt x="1091" y="222"/>
                        </a:lnTo>
                        <a:lnTo>
                          <a:pt x="1086" y="229"/>
                        </a:lnTo>
                        <a:lnTo>
                          <a:pt x="1063" y="244"/>
                        </a:lnTo>
                        <a:lnTo>
                          <a:pt x="1053" y="246"/>
                        </a:lnTo>
                        <a:lnTo>
                          <a:pt x="1046" y="248"/>
                        </a:lnTo>
                        <a:lnTo>
                          <a:pt x="1041" y="248"/>
                        </a:lnTo>
                        <a:lnTo>
                          <a:pt x="1037" y="246"/>
                        </a:lnTo>
                        <a:lnTo>
                          <a:pt x="1034" y="241"/>
                        </a:lnTo>
                        <a:lnTo>
                          <a:pt x="1034" y="229"/>
                        </a:lnTo>
                        <a:lnTo>
                          <a:pt x="1032" y="227"/>
                        </a:lnTo>
                        <a:lnTo>
                          <a:pt x="1032" y="227"/>
                        </a:lnTo>
                        <a:lnTo>
                          <a:pt x="1032" y="227"/>
                        </a:lnTo>
                        <a:lnTo>
                          <a:pt x="1032" y="232"/>
                        </a:lnTo>
                        <a:lnTo>
                          <a:pt x="1032" y="232"/>
                        </a:lnTo>
                        <a:lnTo>
                          <a:pt x="1032" y="234"/>
                        </a:lnTo>
                        <a:lnTo>
                          <a:pt x="1034" y="236"/>
                        </a:lnTo>
                        <a:lnTo>
                          <a:pt x="1025" y="262"/>
                        </a:lnTo>
                        <a:lnTo>
                          <a:pt x="1018" y="274"/>
                        </a:lnTo>
                        <a:lnTo>
                          <a:pt x="1001" y="286"/>
                        </a:lnTo>
                        <a:lnTo>
                          <a:pt x="996" y="289"/>
                        </a:lnTo>
                        <a:lnTo>
                          <a:pt x="992" y="293"/>
                        </a:lnTo>
                        <a:lnTo>
                          <a:pt x="984" y="293"/>
                        </a:lnTo>
                        <a:lnTo>
                          <a:pt x="982" y="291"/>
                        </a:lnTo>
                        <a:lnTo>
                          <a:pt x="980" y="286"/>
                        </a:lnTo>
                        <a:lnTo>
                          <a:pt x="977" y="286"/>
                        </a:lnTo>
                        <a:lnTo>
                          <a:pt x="975" y="286"/>
                        </a:lnTo>
                        <a:lnTo>
                          <a:pt x="963" y="289"/>
                        </a:lnTo>
                        <a:lnTo>
                          <a:pt x="956" y="286"/>
                        </a:lnTo>
                        <a:lnTo>
                          <a:pt x="951" y="286"/>
                        </a:lnTo>
                        <a:lnTo>
                          <a:pt x="949" y="286"/>
                        </a:lnTo>
                        <a:lnTo>
                          <a:pt x="942" y="279"/>
                        </a:lnTo>
                        <a:lnTo>
                          <a:pt x="937" y="279"/>
                        </a:lnTo>
                        <a:lnTo>
                          <a:pt x="930" y="279"/>
                        </a:lnTo>
                        <a:lnTo>
                          <a:pt x="925" y="279"/>
                        </a:lnTo>
                        <a:lnTo>
                          <a:pt x="923" y="281"/>
                        </a:lnTo>
                        <a:lnTo>
                          <a:pt x="918" y="286"/>
                        </a:lnTo>
                        <a:lnTo>
                          <a:pt x="895" y="298"/>
                        </a:lnTo>
                        <a:lnTo>
                          <a:pt x="890" y="298"/>
                        </a:lnTo>
                        <a:lnTo>
                          <a:pt x="878" y="300"/>
                        </a:lnTo>
                        <a:lnTo>
                          <a:pt x="876" y="303"/>
                        </a:lnTo>
                        <a:lnTo>
                          <a:pt x="864" y="319"/>
                        </a:lnTo>
                        <a:lnTo>
                          <a:pt x="857" y="331"/>
                        </a:lnTo>
                        <a:lnTo>
                          <a:pt x="847" y="341"/>
                        </a:lnTo>
                        <a:lnTo>
                          <a:pt x="809" y="362"/>
                        </a:lnTo>
                        <a:lnTo>
                          <a:pt x="795" y="369"/>
                        </a:lnTo>
                        <a:lnTo>
                          <a:pt x="783" y="364"/>
                        </a:lnTo>
                        <a:lnTo>
                          <a:pt x="769" y="376"/>
                        </a:lnTo>
                        <a:lnTo>
                          <a:pt x="753" y="386"/>
                        </a:lnTo>
                        <a:lnTo>
                          <a:pt x="734" y="388"/>
                        </a:lnTo>
                        <a:lnTo>
                          <a:pt x="693" y="390"/>
                        </a:lnTo>
                        <a:lnTo>
                          <a:pt x="684" y="395"/>
                        </a:lnTo>
                        <a:lnTo>
                          <a:pt x="679" y="395"/>
                        </a:lnTo>
                        <a:lnTo>
                          <a:pt x="672" y="397"/>
                        </a:lnTo>
                        <a:lnTo>
                          <a:pt x="665" y="395"/>
                        </a:lnTo>
                        <a:lnTo>
                          <a:pt x="649" y="390"/>
                        </a:lnTo>
                        <a:lnTo>
                          <a:pt x="646" y="395"/>
                        </a:lnTo>
                        <a:lnTo>
                          <a:pt x="625" y="402"/>
                        </a:lnTo>
                        <a:lnTo>
                          <a:pt x="620" y="407"/>
                        </a:lnTo>
                        <a:lnTo>
                          <a:pt x="615" y="412"/>
                        </a:lnTo>
                        <a:lnTo>
                          <a:pt x="613" y="416"/>
                        </a:lnTo>
                        <a:lnTo>
                          <a:pt x="599" y="421"/>
                        </a:lnTo>
                        <a:lnTo>
                          <a:pt x="587" y="430"/>
                        </a:lnTo>
                        <a:lnTo>
                          <a:pt x="580" y="435"/>
                        </a:lnTo>
                        <a:lnTo>
                          <a:pt x="559" y="435"/>
                        </a:lnTo>
                        <a:lnTo>
                          <a:pt x="552" y="435"/>
                        </a:lnTo>
                        <a:lnTo>
                          <a:pt x="552" y="435"/>
                        </a:lnTo>
                        <a:lnTo>
                          <a:pt x="552" y="435"/>
                        </a:lnTo>
                        <a:lnTo>
                          <a:pt x="552" y="433"/>
                        </a:lnTo>
                        <a:lnTo>
                          <a:pt x="547" y="430"/>
                        </a:lnTo>
                        <a:lnTo>
                          <a:pt x="533" y="430"/>
                        </a:lnTo>
                        <a:lnTo>
                          <a:pt x="521" y="426"/>
                        </a:lnTo>
                        <a:lnTo>
                          <a:pt x="509" y="419"/>
                        </a:lnTo>
                        <a:lnTo>
                          <a:pt x="497" y="416"/>
                        </a:lnTo>
                        <a:lnTo>
                          <a:pt x="495" y="414"/>
                        </a:lnTo>
                        <a:lnTo>
                          <a:pt x="492" y="409"/>
                        </a:lnTo>
                        <a:lnTo>
                          <a:pt x="490" y="404"/>
                        </a:lnTo>
                        <a:lnTo>
                          <a:pt x="490" y="397"/>
                        </a:lnTo>
                        <a:lnTo>
                          <a:pt x="481" y="393"/>
                        </a:lnTo>
                        <a:lnTo>
                          <a:pt x="440" y="402"/>
                        </a:lnTo>
                        <a:lnTo>
                          <a:pt x="433" y="390"/>
                        </a:lnTo>
                        <a:lnTo>
                          <a:pt x="433" y="388"/>
                        </a:lnTo>
                        <a:lnTo>
                          <a:pt x="431" y="374"/>
                        </a:lnTo>
                        <a:lnTo>
                          <a:pt x="429" y="371"/>
                        </a:lnTo>
                        <a:lnTo>
                          <a:pt x="414" y="364"/>
                        </a:lnTo>
                        <a:lnTo>
                          <a:pt x="412" y="364"/>
                        </a:lnTo>
                        <a:lnTo>
                          <a:pt x="412" y="359"/>
                        </a:lnTo>
                        <a:lnTo>
                          <a:pt x="412" y="357"/>
                        </a:lnTo>
                        <a:lnTo>
                          <a:pt x="410" y="357"/>
                        </a:lnTo>
                        <a:lnTo>
                          <a:pt x="407" y="357"/>
                        </a:lnTo>
                        <a:lnTo>
                          <a:pt x="402" y="362"/>
                        </a:lnTo>
                        <a:lnTo>
                          <a:pt x="398" y="364"/>
                        </a:lnTo>
                        <a:lnTo>
                          <a:pt x="393" y="367"/>
                        </a:lnTo>
                        <a:lnTo>
                          <a:pt x="391" y="369"/>
                        </a:lnTo>
                        <a:lnTo>
                          <a:pt x="384" y="367"/>
                        </a:lnTo>
                        <a:lnTo>
                          <a:pt x="384" y="376"/>
                        </a:lnTo>
                        <a:lnTo>
                          <a:pt x="376" y="381"/>
                        </a:lnTo>
                        <a:lnTo>
                          <a:pt x="367" y="383"/>
                        </a:lnTo>
                        <a:lnTo>
                          <a:pt x="360" y="383"/>
                        </a:lnTo>
                        <a:lnTo>
                          <a:pt x="348" y="381"/>
                        </a:lnTo>
                        <a:lnTo>
                          <a:pt x="343" y="381"/>
                        </a:lnTo>
                        <a:lnTo>
                          <a:pt x="341" y="381"/>
                        </a:lnTo>
                        <a:lnTo>
                          <a:pt x="336" y="386"/>
                        </a:lnTo>
                        <a:lnTo>
                          <a:pt x="336" y="388"/>
                        </a:lnTo>
                        <a:lnTo>
                          <a:pt x="339" y="393"/>
                        </a:lnTo>
                        <a:lnTo>
                          <a:pt x="329" y="404"/>
                        </a:lnTo>
                        <a:lnTo>
                          <a:pt x="329" y="409"/>
                        </a:lnTo>
                        <a:lnTo>
                          <a:pt x="334" y="412"/>
                        </a:lnTo>
                        <a:lnTo>
                          <a:pt x="334" y="416"/>
                        </a:lnTo>
                        <a:lnTo>
                          <a:pt x="336" y="421"/>
                        </a:lnTo>
                        <a:lnTo>
                          <a:pt x="336" y="423"/>
                        </a:lnTo>
                        <a:lnTo>
                          <a:pt x="336" y="426"/>
                        </a:lnTo>
                        <a:lnTo>
                          <a:pt x="334" y="428"/>
                        </a:lnTo>
                        <a:lnTo>
                          <a:pt x="324" y="440"/>
                        </a:lnTo>
                        <a:lnTo>
                          <a:pt x="298" y="456"/>
                        </a:lnTo>
                        <a:lnTo>
                          <a:pt x="284" y="461"/>
                        </a:lnTo>
                        <a:lnTo>
                          <a:pt x="272" y="456"/>
                        </a:lnTo>
                        <a:lnTo>
                          <a:pt x="272" y="452"/>
                        </a:lnTo>
                        <a:lnTo>
                          <a:pt x="268" y="449"/>
                        </a:lnTo>
                        <a:lnTo>
                          <a:pt x="258" y="447"/>
                        </a:lnTo>
                        <a:lnTo>
                          <a:pt x="253" y="445"/>
                        </a:lnTo>
                        <a:lnTo>
                          <a:pt x="244" y="428"/>
                        </a:lnTo>
                        <a:lnTo>
                          <a:pt x="232" y="412"/>
                        </a:lnTo>
                        <a:lnTo>
                          <a:pt x="230" y="404"/>
                        </a:lnTo>
                        <a:lnTo>
                          <a:pt x="225" y="404"/>
                        </a:lnTo>
                        <a:lnTo>
                          <a:pt x="223" y="404"/>
                        </a:lnTo>
                        <a:lnTo>
                          <a:pt x="220" y="400"/>
                        </a:lnTo>
                        <a:lnTo>
                          <a:pt x="216" y="409"/>
                        </a:lnTo>
                        <a:lnTo>
                          <a:pt x="220" y="419"/>
                        </a:lnTo>
                        <a:lnTo>
                          <a:pt x="220" y="428"/>
                        </a:lnTo>
                        <a:lnTo>
                          <a:pt x="216" y="435"/>
                        </a:lnTo>
                        <a:lnTo>
                          <a:pt x="211" y="435"/>
                        </a:lnTo>
                        <a:lnTo>
                          <a:pt x="206" y="435"/>
                        </a:lnTo>
                        <a:lnTo>
                          <a:pt x="201" y="435"/>
                        </a:lnTo>
                        <a:lnTo>
                          <a:pt x="199" y="440"/>
                        </a:lnTo>
                        <a:lnTo>
                          <a:pt x="199" y="447"/>
                        </a:lnTo>
                        <a:lnTo>
                          <a:pt x="194" y="452"/>
                        </a:lnTo>
                        <a:lnTo>
                          <a:pt x="187" y="461"/>
                        </a:lnTo>
                        <a:lnTo>
                          <a:pt x="175" y="459"/>
                        </a:lnTo>
                        <a:lnTo>
                          <a:pt x="168" y="468"/>
                        </a:lnTo>
                        <a:lnTo>
                          <a:pt x="161" y="478"/>
                        </a:lnTo>
                        <a:lnTo>
                          <a:pt x="152" y="485"/>
                        </a:lnTo>
                        <a:lnTo>
                          <a:pt x="154" y="487"/>
                        </a:lnTo>
                        <a:lnTo>
                          <a:pt x="156" y="494"/>
                        </a:lnTo>
                        <a:lnTo>
                          <a:pt x="154" y="501"/>
                        </a:lnTo>
                        <a:lnTo>
                          <a:pt x="154" y="513"/>
                        </a:lnTo>
                        <a:lnTo>
                          <a:pt x="149" y="530"/>
                        </a:lnTo>
                        <a:lnTo>
                          <a:pt x="147" y="530"/>
                        </a:lnTo>
                        <a:lnTo>
                          <a:pt x="147" y="532"/>
                        </a:lnTo>
                        <a:lnTo>
                          <a:pt x="149" y="535"/>
                        </a:lnTo>
                        <a:lnTo>
                          <a:pt x="149" y="537"/>
                        </a:lnTo>
                        <a:lnTo>
                          <a:pt x="154" y="542"/>
                        </a:lnTo>
                        <a:lnTo>
                          <a:pt x="154" y="544"/>
                        </a:lnTo>
                        <a:lnTo>
                          <a:pt x="154" y="549"/>
                        </a:lnTo>
                        <a:lnTo>
                          <a:pt x="154" y="556"/>
                        </a:lnTo>
                        <a:lnTo>
                          <a:pt x="154" y="556"/>
                        </a:lnTo>
                        <a:lnTo>
                          <a:pt x="152" y="568"/>
                        </a:lnTo>
                        <a:lnTo>
                          <a:pt x="154" y="570"/>
                        </a:lnTo>
                        <a:lnTo>
                          <a:pt x="152" y="570"/>
                        </a:lnTo>
                        <a:lnTo>
                          <a:pt x="147" y="575"/>
                        </a:lnTo>
                        <a:lnTo>
                          <a:pt x="147" y="572"/>
                        </a:lnTo>
                        <a:lnTo>
                          <a:pt x="142" y="577"/>
                        </a:lnTo>
                        <a:lnTo>
                          <a:pt x="142" y="582"/>
                        </a:lnTo>
                        <a:lnTo>
                          <a:pt x="145" y="587"/>
                        </a:lnTo>
                        <a:lnTo>
                          <a:pt x="149" y="591"/>
                        </a:lnTo>
                        <a:lnTo>
                          <a:pt x="154" y="596"/>
                        </a:lnTo>
                        <a:lnTo>
                          <a:pt x="156" y="601"/>
                        </a:lnTo>
                        <a:lnTo>
                          <a:pt x="156" y="606"/>
                        </a:lnTo>
                        <a:lnTo>
                          <a:pt x="159" y="613"/>
                        </a:lnTo>
                        <a:lnTo>
                          <a:pt x="164" y="620"/>
                        </a:lnTo>
                        <a:lnTo>
                          <a:pt x="168" y="627"/>
                        </a:lnTo>
                        <a:lnTo>
                          <a:pt x="175" y="634"/>
                        </a:lnTo>
                        <a:lnTo>
                          <a:pt x="182" y="636"/>
                        </a:lnTo>
                        <a:lnTo>
                          <a:pt x="194" y="634"/>
                        </a:lnTo>
                        <a:lnTo>
                          <a:pt x="199" y="634"/>
                        </a:lnTo>
                        <a:lnTo>
                          <a:pt x="206" y="641"/>
                        </a:lnTo>
                        <a:lnTo>
                          <a:pt x="223" y="662"/>
                        </a:lnTo>
                        <a:lnTo>
                          <a:pt x="232" y="667"/>
                        </a:lnTo>
                        <a:lnTo>
                          <a:pt x="244" y="667"/>
                        </a:lnTo>
                        <a:lnTo>
                          <a:pt x="272" y="658"/>
                        </a:lnTo>
                        <a:lnTo>
                          <a:pt x="298" y="653"/>
                        </a:lnTo>
                        <a:lnTo>
                          <a:pt x="324" y="650"/>
                        </a:lnTo>
                        <a:lnTo>
                          <a:pt x="336" y="653"/>
                        </a:lnTo>
                        <a:lnTo>
                          <a:pt x="346" y="662"/>
                        </a:lnTo>
                        <a:lnTo>
                          <a:pt x="348" y="665"/>
                        </a:lnTo>
                        <a:lnTo>
                          <a:pt x="350" y="672"/>
                        </a:lnTo>
                        <a:lnTo>
                          <a:pt x="353" y="677"/>
                        </a:lnTo>
                        <a:lnTo>
                          <a:pt x="358" y="679"/>
                        </a:lnTo>
                        <a:lnTo>
                          <a:pt x="360" y="677"/>
                        </a:lnTo>
                        <a:lnTo>
                          <a:pt x="365" y="674"/>
                        </a:lnTo>
                        <a:lnTo>
                          <a:pt x="407" y="672"/>
                        </a:lnTo>
                        <a:lnTo>
                          <a:pt x="407" y="674"/>
                        </a:lnTo>
                        <a:lnTo>
                          <a:pt x="412" y="679"/>
                        </a:lnTo>
                        <a:lnTo>
                          <a:pt x="414" y="679"/>
                        </a:lnTo>
                        <a:lnTo>
                          <a:pt x="419" y="681"/>
                        </a:lnTo>
                        <a:lnTo>
                          <a:pt x="421" y="681"/>
                        </a:lnTo>
                        <a:lnTo>
                          <a:pt x="426" y="686"/>
                        </a:lnTo>
                        <a:lnTo>
                          <a:pt x="433" y="691"/>
                        </a:lnTo>
                        <a:lnTo>
                          <a:pt x="436" y="691"/>
                        </a:lnTo>
                        <a:lnTo>
                          <a:pt x="445" y="705"/>
                        </a:lnTo>
                        <a:lnTo>
                          <a:pt x="450" y="707"/>
                        </a:lnTo>
                        <a:lnTo>
                          <a:pt x="455" y="707"/>
                        </a:lnTo>
                        <a:lnTo>
                          <a:pt x="457" y="710"/>
                        </a:lnTo>
                        <a:lnTo>
                          <a:pt x="464" y="714"/>
                        </a:lnTo>
                        <a:lnTo>
                          <a:pt x="481" y="721"/>
                        </a:lnTo>
                        <a:lnTo>
                          <a:pt x="499" y="731"/>
                        </a:lnTo>
                        <a:lnTo>
                          <a:pt x="509" y="736"/>
                        </a:lnTo>
                        <a:lnTo>
                          <a:pt x="523" y="738"/>
                        </a:lnTo>
                        <a:lnTo>
                          <a:pt x="537" y="738"/>
                        </a:lnTo>
                        <a:lnTo>
                          <a:pt x="549" y="740"/>
                        </a:lnTo>
                        <a:lnTo>
                          <a:pt x="561" y="745"/>
                        </a:lnTo>
                        <a:lnTo>
                          <a:pt x="592" y="769"/>
                        </a:lnTo>
                        <a:lnTo>
                          <a:pt x="604" y="774"/>
                        </a:lnTo>
                        <a:lnTo>
                          <a:pt x="618" y="778"/>
                        </a:lnTo>
                        <a:lnTo>
                          <a:pt x="632" y="778"/>
                        </a:lnTo>
                        <a:lnTo>
                          <a:pt x="644" y="781"/>
                        </a:lnTo>
                        <a:lnTo>
                          <a:pt x="667" y="792"/>
                        </a:lnTo>
                        <a:lnTo>
                          <a:pt x="682" y="792"/>
                        </a:lnTo>
                        <a:lnTo>
                          <a:pt x="686" y="790"/>
                        </a:lnTo>
                        <a:lnTo>
                          <a:pt x="691" y="785"/>
                        </a:lnTo>
                        <a:lnTo>
                          <a:pt x="693" y="785"/>
                        </a:lnTo>
                        <a:lnTo>
                          <a:pt x="731" y="776"/>
                        </a:lnTo>
                        <a:lnTo>
                          <a:pt x="743" y="776"/>
                        </a:lnTo>
                        <a:lnTo>
                          <a:pt x="774" y="783"/>
                        </a:lnTo>
                        <a:lnTo>
                          <a:pt x="798" y="795"/>
                        </a:lnTo>
                        <a:lnTo>
                          <a:pt x="833" y="818"/>
                        </a:lnTo>
                        <a:lnTo>
                          <a:pt x="843" y="828"/>
                        </a:lnTo>
                        <a:lnTo>
                          <a:pt x="878" y="882"/>
                        </a:lnTo>
                        <a:lnTo>
                          <a:pt x="883" y="887"/>
                        </a:lnTo>
                        <a:lnTo>
                          <a:pt x="911" y="887"/>
                        </a:lnTo>
                        <a:lnTo>
                          <a:pt x="916" y="885"/>
                        </a:lnTo>
                        <a:lnTo>
                          <a:pt x="923" y="889"/>
                        </a:lnTo>
                        <a:lnTo>
                          <a:pt x="942" y="892"/>
                        </a:lnTo>
                        <a:lnTo>
                          <a:pt x="947" y="897"/>
                        </a:lnTo>
                        <a:lnTo>
                          <a:pt x="954" y="904"/>
                        </a:lnTo>
                        <a:lnTo>
                          <a:pt x="973" y="901"/>
                        </a:lnTo>
                        <a:lnTo>
                          <a:pt x="980" y="906"/>
                        </a:lnTo>
                        <a:lnTo>
                          <a:pt x="984" y="904"/>
                        </a:lnTo>
                        <a:lnTo>
                          <a:pt x="984" y="904"/>
                        </a:lnTo>
                        <a:lnTo>
                          <a:pt x="987" y="908"/>
                        </a:lnTo>
                        <a:lnTo>
                          <a:pt x="1006" y="892"/>
                        </a:lnTo>
                        <a:lnTo>
                          <a:pt x="1018" y="889"/>
                        </a:lnTo>
                        <a:lnTo>
                          <a:pt x="1032" y="892"/>
                        </a:lnTo>
                        <a:lnTo>
                          <a:pt x="1046" y="897"/>
                        </a:lnTo>
                        <a:lnTo>
                          <a:pt x="1053" y="899"/>
                        </a:lnTo>
                        <a:lnTo>
                          <a:pt x="1058" y="897"/>
                        </a:lnTo>
                        <a:lnTo>
                          <a:pt x="1058" y="894"/>
                        </a:lnTo>
                        <a:lnTo>
                          <a:pt x="1060" y="892"/>
                        </a:lnTo>
                        <a:lnTo>
                          <a:pt x="1065" y="892"/>
                        </a:lnTo>
                        <a:lnTo>
                          <a:pt x="1070" y="894"/>
                        </a:lnTo>
                        <a:lnTo>
                          <a:pt x="1074" y="897"/>
                        </a:lnTo>
                        <a:lnTo>
                          <a:pt x="1079" y="901"/>
                        </a:lnTo>
                        <a:lnTo>
                          <a:pt x="1086" y="906"/>
                        </a:lnTo>
                        <a:lnTo>
                          <a:pt x="1093" y="906"/>
                        </a:lnTo>
                        <a:lnTo>
                          <a:pt x="1100" y="904"/>
                        </a:lnTo>
                        <a:lnTo>
                          <a:pt x="1105" y="897"/>
                        </a:lnTo>
                        <a:lnTo>
                          <a:pt x="1105" y="889"/>
                        </a:lnTo>
                        <a:lnTo>
                          <a:pt x="1096" y="866"/>
                        </a:lnTo>
                        <a:lnTo>
                          <a:pt x="1086" y="854"/>
                        </a:lnTo>
                        <a:lnTo>
                          <a:pt x="1084" y="847"/>
                        </a:lnTo>
                        <a:lnTo>
                          <a:pt x="1086" y="842"/>
                        </a:lnTo>
                        <a:lnTo>
                          <a:pt x="1086" y="837"/>
                        </a:lnTo>
                        <a:lnTo>
                          <a:pt x="1096" y="790"/>
                        </a:lnTo>
                        <a:lnTo>
                          <a:pt x="1100" y="781"/>
                        </a:lnTo>
                        <a:lnTo>
                          <a:pt x="1108" y="776"/>
                        </a:lnTo>
                        <a:lnTo>
                          <a:pt x="1112" y="774"/>
                        </a:lnTo>
                        <a:lnTo>
                          <a:pt x="1117" y="769"/>
                        </a:lnTo>
                        <a:lnTo>
                          <a:pt x="1122" y="764"/>
                        </a:lnTo>
                        <a:lnTo>
                          <a:pt x="1129" y="764"/>
                        </a:lnTo>
                        <a:lnTo>
                          <a:pt x="1129" y="759"/>
                        </a:lnTo>
                        <a:lnTo>
                          <a:pt x="1126" y="757"/>
                        </a:lnTo>
                        <a:lnTo>
                          <a:pt x="1126" y="757"/>
                        </a:lnTo>
                        <a:lnTo>
                          <a:pt x="1131" y="755"/>
                        </a:lnTo>
                        <a:lnTo>
                          <a:pt x="1126" y="752"/>
                        </a:lnTo>
                        <a:lnTo>
                          <a:pt x="1138" y="743"/>
                        </a:lnTo>
                        <a:lnTo>
                          <a:pt x="1141" y="743"/>
                        </a:lnTo>
                        <a:lnTo>
                          <a:pt x="1143" y="743"/>
                        </a:lnTo>
                        <a:lnTo>
                          <a:pt x="1145" y="745"/>
                        </a:lnTo>
                        <a:lnTo>
                          <a:pt x="1148" y="743"/>
                        </a:lnTo>
                        <a:lnTo>
                          <a:pt x="1145" y="736"/>
                        </a:lnTo>
                        <a:lnTo>
                          <a:pt x="1143" y="731"/>
                        </a:lnTo>
                        <a:lnTo>
                          <a:pt x="1138" y="731"/>
                        </a:lnTo>
                        <a:lnTo>
                          <a:pt x="1134" y="733"/>
                        </a:lnTo>
                        <a:lnTo>
                          <a:pt x="1129" y="731"/>
                        </a:lnTo>
                        <a:lnTo>
                          <a:pt x="1129" y="726"/>
                        </a:lnTo>
                        <a:lnTo>
                          <a:pt x="1129" y="721"/>
                        </a:lnTo>
                        <a:lnTo>
                          <a:pt x="1134" y="724"/>
                        </a:lnTo>
                        <a:lnTo>
                          <a:pt x="1136" y="714"/>
                        </a:lnTo>
                        <a:lnTo>
                          <a:pt x="1131" y="707"/>
                        </a:lnTo>
                        <a:lnTo>
                          <a:pt x="1126" y="705"/>
                        </a:lnTo>
                        <a:lnTo>
                          <a:pt x="1119" y="707"/>
                        </a:lnTo>
                        <a:lnTo>
                          <a:pt x="1112" y="705"/>
                        </a:lnTo>
                        <a:lnTo>
                          <a:pt x="1108" y="698"/>
                        </a:lnTo>
                        <a:lnTo>
                          <a:pt x="1105" y="693"/>
                        </a:lnTo>
                        <a:lnTo>
                          <a:pt x="1110" y="691"/>
                        </a:lnTo>
                        <a:lnTo>
                          <a:pt x="1110" y="688"/>
                        </a:lnTo>
                        <a:lnTo>
                          <a:pt x="1105" y="686"/>
                        </a:lnTo>
                        <a:lnTo>
                          <a:pt x="1100" y="691"/>
                        </a:lnTo>
                        <a:lnTo>
                          <a:pt x="1091" y="684"/>
                        </a:lnTo>
                        <a:lnTo>
                          <a:pt x="1086" y="672"/>
                        </a:lnTo>
                        <a:lnTo>
                          <a:pt x="1089" y="662"/>
                        </a:lnTo>
                        <a:lnTo>
                          <a:pt x="1086" y="658"/>
                        </a:lnTo>
                        <a:lnTo>
                          <a:pt x="1091" y="653"/>
                        </a:lnTo>
                        <a:lnTo>
                          <a:pt x="1093" y="653"/>
                        </a:lnTo>
                        <a:lnTo>
                          <a:pt x="1096" y="655"/>
                        </a:lnTo>
                        <a:lnTo>
                          <a:pt x="1096" y="662"/>
                        </a:lnTo>
                        <a:lnTo>
                          <a:pt x="1098" y="658"/>
                        </a:lnTo>
                        <a:lnTo>
                          <a:pt x="1100" y="653"/>
                        </a:lnTo>
                        <a:lnTo>
                          <a:pt x="1103" y="650"/>
                        </a:lnTo>
                        <a:lnTo>
                          <a:pt x="1110" y="655"/>
                        </a:lnTo>
                        <a:lnTo>
                          <a:pt x="1105" y="646"/>
                        </a:lnTo>
                        <a:lnTo>
                          <a:pt x="1098" y="639"/>
                        </a:lnTo>
                        <a:lnTo>
                          <a:pt x="1091" y="636"/>
                        </a:lnTo>
                        <a:lnTo>
                          <a:pt x="1079" y="636"/>
                        </a:lnTo>
                        <a:lnTo>
                          <a:pt x="1053" y="627"/>
                        </a:lnTo>
                        <a:lnTo>
                          <a:pt x="1051" y="624"/>
                        </a:lnTo>
                        <a:lnTo>
                          <a:pt x="1048" y="620"/>
                        </a:lnTo>
                        <a:lnTo>
                          <a:pt x="1046" y="613"/>
                        </a:lnTo>
                        <a:lnTo>
                          <a:pt x="1039" y="572"/>
                        </a:lnTo>
                        <a:lnTo>
                          <a:pt x="1037" y="563"/>
                        </a:lnTo>
                        <a:lnTo>
                          <a:pt x="1039" y="556"/>
                        </a:lnTo>
                        <a:lnTo>
                          <a:pt x="1041" y="544"/>
                        </a:lnTo>
                        <a:lnTo>
                          <a:pt x="1055" y="523"/>
                        </a:lnTo>
                        <a:lnTo>
                          <a:pt x="1058" y="506"/>
                        </a:lnTo>
                        <a:lnTo>
                          <a:pt x="1058" y="497"/>
                        </a:lnTo>
                        <a:lnTo>
                          <a:pt x="1060" y="483"/>
                        </a:lnTo>
                        <a:lnTo>
                          <a:pt x="1058" y="475"/>
                        </a:lnTo>
                        <a:lnTo>
                          <a:pt x="1060" y="471"/>
                        </a:lnTo>
                        <a:lnTo>
                          <a:pt x="1063" y="466"/>
                        </a:lnTo>
                        <a:lnTo>
                          <a:pt x="1063" y="461"/>
                        </a:lnTo>
                        <a:lnTo>
                          <a:pt x="1063" y="456"/>
                        </a:lnTo>
                        <a:lnTo>
                          <a:pt x="1058" y="449"/>
                        </a:lnTo>
                        <a:lnTo>
                          <a:pt x="1055" y="445"/>
                        </a:lnTo>
                        <a:lnTo>
                          <a:pt x="1058" y="438"/>
                        </a:lnTo>
                        <a:lnTo>
                          <a:pt x="1065" y="421"/>
                        </a:lnTo>
                        <a:lnTo>
                          <a:pt x="1072" y="414"/>
                        </a:lnTo>
                        <a:lnTo>
                          <a:pt x="1077" y="404"/>
                        </a:lnTo>
                        <a:lnTo>
                          <a:pt x="1079" y="390"/>
                        </a:lnTo>
                        <a:lnTo>
                          <a:pt x="1100" y="338"/>
                        </a:lnTo>
                        <a:lnTo>
                          <a:pt x="1129" y="284"/>
                        </a:lnTo>
                        <a:lnTo>
                          <a:pt x="1134" y="262"/>
                        </a:lnTo>
                        <a:lnTo>
                          <a:pt x="1145" y="232"/>
                        </a:lnTo>
                        <a:lnTo>
                          <a:pt x="1141" y="234"/>
                        </a:lnTo>
                        <a:lnTo>
                          <a:pt x="1141" y="227"/>
                        </a:lnTo>
                        <a:lnTo>
                          <a:pt x="1141" y="222"/>
                        </a:lnTo>
                        <a:close/>
                        <a:moveTo>
                          <a:pt x="111" y="532"/>
                        </a:moveTo>
                        <a:lnTo>
                          <a:pt x="111" y="532"/>
                        </a:lnTo>
                        <a:lnTo>
                          <a:pt x="116" y="532"/>
                        </a:lnTo>
                        <a:lnTo>
                          <a:pt x="111" y="537"/>
                        </a:lnTo>
                        <a:lnTo>
                          <a:pt x="107" y="537"/>
                        </a:lnTo>
                        <a:lnTo>
                          <a:pt x="102" y="537"/>
                        </a:lnTo>
                        <a:lnTo>
                          <a:pt x="97" y="535"/>
                        </a:lnTo>
                        <a:lnTo>
                          <a:pt x="93" y="537"/>
                        </a:lnTo>
                        <a:lnTo>
                          <a:pt x="90" y="537"/>
                        </a:lnTo>
                        <a:lnTo>
                          <a:pt x="85" y="535"/>
                        </a:lnTo>
                        <a:lnTo>
                          <a:pt x="83" y="530"/>
                        </a:lnTo>
                        <a:lnTo>
                          <a:pt x="88" y="530"/>
                        </a:lnTo>
                        <a:lnTo>
                          <a:pt x="90" y="527"/>
                        </a:lnTo>
                        <a:lnTo>
                          <a:pt x="93" y="525"/>
                        </a:lnTo>
                        <a:lnTo>
                          <a:pt x="97" y="525"/>
                        </a:lnTo>
                        <a:lnTo>
                          <a:pt x="100" y="527"/>
                        </a:lnTo>
                        <a:lnTo>
                          <a:pt x="104" y="530"/>
                        </a:lnTo>
                        <a:lnTo>
                          <a:pt x="111" y="532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35" name="Freeform 33">
                    <a:extLst>
                      <a:ext uri="{FF2B5EF4-FFF2-40B4-BE49-F238E27FC236}">
                        <a16:creationId xmlns:a16="http://schemas.microsoft.com/office/drawing/2014/main" id="{BF046FEE-1C6C-4A2B-984C-49A3C4F85EA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91021" y="3348127"/>
                    <a:ext cx="688626" cy="647070"/>
                  </a:xfrm>
                  <a:custGeom>
                    <a:avLst/>
                    <a:gdLst>
                      <a:gd name="T0" fmla="*/ 263 w 542"/>
                      <a:gd name="T1" fmla="*/ 80 h 509"/>
                      <a:gd name="T2" fmla="*/ 404 w 542"/>
                      <a:gd name="T3" fmla="*/ 196 h 509"/>
                      <a:gd name="T4" fmla="*/ 520 w 542"/>
                      <a:gd name="T5" fmla="*/ 267 h 509"/>
                      <a:gd name="T6" fmla="*/ 542 w 542"/>
                      <a:gd name="T7" fmla="*/ 305 h 509"/>
                      <a:gd name="T8" fmla="*/ 539 w 542"/>
                      <a:gd name="T9" fmla="*/ 324 h 509"/>
                      <a:gd name="T10" fmla="*/ 513 w 542"/>
                      <a:gd name="T11" fmla="*/ 364 h 509"/>
                      <a:gd name="T12" fmla="*/ 499 w 542"/>
                      <a:gd name="T13" fmla="*/ 402 h 509"/>
                      <a:gd name="T14" fmla="*/ 473 w 542"/>
                      <a:gd name="T15" fmla="*/ 445 h 509"/>
                      <a:gd name="T16" fmla="*/ 466 w 542"/>
                      <a:gd name="T17" fmla="*/ 440 h 509"/>
                      <a:gd name="T18" fmla="*/ 457 w 542"/>
                      <a:gd name="T19" fmla="*/ 428 h 509"/>
                      <a:gd name="T20" fmla="*/ 452 w 542"/>
                      <a:gd name="T21" fmla="*/ 416 h 509"/>
                      <a:gd name="T22" fmla="*/ 430 w 542"/>
                      <a:gd name="T23" fmla="*/ 412 h 509"/>
                      <a:gd name="T24" fmla="*/ 419 w 542"/>
                      <a:gd name="T25" fmla="*/ 404 h 509"/>
                      <a:gd name="T26" fmla="*/ 404 w 542"/>
                      <a:gd name="T27" fmla="*/ 400 h 509"/>
                      <a:gd name="T28" fmla="*/ 386 w 542"/>
                      <a:gd name="T29" fmla="*/ 423 h 509"/>
                      <a:gd name="T30" fmla="*/ 367 w 542"/>
                      <a:gd name="T31" fmla="*/ 442 h 509"/>
                      <a:gd name="T32" fmla="*/ 378 w 542"/>
                      <a:gd name="T33" fmla="*/ 457 h 509"/>
                      <a:gd name="T34" fmla="*/ 383 w 542"/>
                      <a:gd name="T35" fmla="*/ 464 h 509"/>
                      <a:gd name="T36" fmla="*/ 357 w 542"/>
                      <a:gd name="T37" fmla="*/ 485 h 509"/>
                      <a:gd name="T38" fmla="*/ 336 w 542"/>
                      <a:gd name="T39" fmla="*/ 501 h 509"/>
                      <a:gd name="T40" fmla="*/ 291 w 542"/>
                      <a:gd name="T41" fmla="*/ 494 h 509"/>
                      <a:gd name="T42" fmla="*/ 263 w 542"/>
                      <a:gd name="T43" fmla="*/ 490 h 509"/>
                      <a:gd name="T44" fmla="*/ 248 w 542"/>
                      <a:gd name="T45" fmla="*/ 490 h 509"/>
                      <a:gd name="T46" fmla="*/ 218 w 542"/>
                      <a:gd name="T47" fmla="*/ 473 h 509"/>
                      <a:gd name="T48" fmla="*/ 196 w 542"/>
                      <a:gd name="T49" fmla="*/ 494 h 509"/>
                      <a:gd name="T50" fmla="*/ 177 w 542"/>
                      <a:gd name="T51" fmla="*/ 494 h 509"/>
                      <a:gd name="T52" fmla="*/ 137 w 542"/>
                      <a:gd name="T53" fmla="*/ 478 h 509"/>
                      <a:gd name="T54" fmla="*/ 123 w 542"/>
                      <a:gd name="T55" fmla="*/ 478 h 509"/>
                      <a:gd name="T56" fmla="*/ 123 w 542"/>
                      <a:gd name="T57" fmla="*/ 454 h 509"/>
                      <a:gd name="T58" fmla="*/ 113 w 542"/>
                      <a:gd name="T59" fmla="*/ 442 h 509"/>
                      <a:gd name="T60" fmla="*/ 31 w 542"/>
                      <a:gd name="T61" fmla="*/ 412 h 509"/>
                      <a:gd name="T62" fmla="*/ 9 w 542"/>
                      <a:gd name="T63" fmla="*/ 412 h 509"/>
                      <a:gd name="T64" fmla="*/ 0 w 542"/>
                      <a:gd name="T65" fmla="*/ 381 h 509"/>
                      <a:gd name="T66" fmla="*/ 19 w 542"/>
                      <a:gd name="T67" fmla="*/ 350 h 509"/>
                      <a:gd name="T68" fmla="*/ 59 w 542"/>
                      <a:gd name="T69" fmla="*/ 360 h 509"/>
                      <a:gd name="T70" fmla="*/ 76 w 542"/>
                      <a:gd name="T71" fmla="*/ 355 h 509"/>
                      <a:gd name="T72" fmla="*/ 87 w 542"/>
                      <a:gd name="T73" fmla="*/ 352 h 509"/>
                      <a:gd name="T74" fmla="*/ 85 w 542"/>
                      <a:gd name="T75" fmla="*/ 341 h 509"/>
                      <a:gd name="T76" fmla="*/ 99 w 542"/>
                      <a:gd name="T77" fmla="*/ 329 h 509"/>
                      <a:gd name="T78" fmla="*/ 85 w 542"/>
                      <a:gd name="T79" fmla="*/ 324 h 509"/>
                      <a:gd name="T80" fmla="*/ 76 w 542"/>
                      <a:gd name="T81" fmla="*/ 317 h 509"/>
                      <a:gd name="T82" fmla="*/ 64 w 542"/>
                      <a:gd name="T83" fmla="*/ 305 h 509"/>
                      <a:gd name="T84" fmla="*/ 47 w 542"/>
                      <a:gd name="T85" fmla="*/ 284 h 509"/>
                      <a:gd name="T86" fmla="*/ 28 w 542"/>
                      <a:gd name="T87" fmla="*/ 274 h 509"/>
                      <a:gd name="T88" fmla="*/ 31 w 542"/>
                      <a:gd name="T89" fmla="*/ 248 h 509"/>
                      <a:gd name="T90" fmla="*/ 16 w 542"/>
                      <a:gd name="T91" fmla="*/ 241 h 509"/>
                      <a:gd name="T92" fmla="*/ 19 w 542"/>
                      <a:gd name="T93" fmla="*/ 222 h 509"/>
                      <a:gd name="T94" fmla="*/ 21 w 542"/>
                      <a:gd name="T95" fmla="*/ 208 h 509"/>
                      <a:gd name="T96" fmla="*/ 12 w 542"/>
                      <a:gd name="T97" fmla="*/ 199 h 509"/>
                      <a:gd name="T98" fmla="*/ 12 w 542"/>
                      <a:gd name="T99" fmla="*/ 187 h 509"/>
                      <a:gd name="T100" fmla="*/ 21 w 542"/>
                      <a:gd name="T101" fmla="*/ 170 h 509"/>
                      <a:gd name="T102" fmla="*/ 45 w 542"/>
                      <a:gd name="T103" fmla="*/ 170 h 509"/>
                      <a:gd name="T104" fmla="*/ 68 w 542"/>
                      <a:gd name="T105" fmla="*/ 168 h 509"/>
                      <a:gd name="T106" fmla="*/ 76 w 542"/>
                      <a:gd name="T107" fmla="*/ 135 h 509"/>
                      <a:gd name="T108" fmla="*/ 64 w 542"/>
                      <a:gd name="T109" fmla="*/ 130 h 509"/>
                      <a:gd name="T110" fmla="*/ 87 w 542"/>
                      <a:gd name="T111" fmla="*/ 109 h 509"/>
                      <a:gd name="T112" fmla="*/ 102 w 542"/>
                      <a:gd name="T113" fmla="*/ 92 h 509"/>
                      <a:gd name="T114" fmla="*/ 104 w 542"/>
                      <a:gd name="T115" fmla="*/ 78 h 509"/>
                      <a:gd name="T116" fmla="*/ 116 w 542"/>
                      <a:gd name="T117" fmla="*/ 57 h 509"/>
                      <a:gd name="T118" fmla="*/ 128 w 542"/>
                      <a:gd name="T119" fmla="*/ 59 h 509"/>
                      <a:gd name="T120" fmla="*/ 154 w 542"/>
                      <a:gd name="T121" fmla="*/ 50 h 509"/>
                      <a:gd name="T122" fmla="*/ 161 w 542"/>
                      <a:gd name="T123" fmla="*/ 35 h 509"/>
                      <a:gd name="T124" fmla="*/ 177 w 542"/>
                      <a:gd name="T125" fmla="*/ 21 h 50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  <a:cxn ang="0">
                        <a:pos x="T124" y="T125"/>
                      </a:cxn>
                    </a:cxnLst>
                    <a:rect l="0" t="0" r="r" b="b"/>
                    <a:pathLst>
                      <a:path w="542" h="509">
                        <a:moveTo>
                          <a:pt x="215" y="2"/>
                        </a:moveTo>
                        <a:lnTo>
                          <a:pt x="215" y="2"/>
                        </a:lnTo>
                        <a:lnTo>
                          <a:pt x="220" y="0"/>
                        </a:lnTo>
                        <a:lnTo>
                          <a:pt x="220" y="0"/>
                        </a:lnTo>
                        <a:lnTo>
                          <a:pt x="239" y="40"/>
                        </a:lnTo>
                        <a:lnTo>
                          <a:pt x="255" y="69"/>
                        </a:lnTo>
                        <a:lnTo>
                          <a:pt x="263" y="80"/>
                        </a:lnTo>
                        <a:lnTo>
                          <a:pt x="286" y="109"/>
                        </a:lnTo>
                        <a:lnTo>
                          <a:pt x="291" y="113"/>
                        </a:lnTo>
                        <a:lnTo>
                          <a:pt x="293" y="118"/>
                        </a:lnTo>
                        <a:lnTo>
                          <a:pt x="345" y="166"/>
                        </a:lnTo>
                        <a:lnTo>
                          <a:pt x="369" y="177"/>
                        </a:lnTo>
                        <a:lnTo>
                          <a:pt x="393" y="189"/>
                        </a:lnTo>
                        <a:lnTo>
                          <a:pt x="404" y="196"/>
                        </a:lnTo>
                        <a:lnTo>
                          <a:pt x="421" y="215"/>
                        </a:lnTo>
                        <a:lnTo>
                          <a:pt x="468" y="248"/>
                        </a:lnTo>
                        <a:lnTo>
                          <a:pt x="480" y="253"/>
                        </a:lnTo>
                        <a:lnTo>
                          <a:pt x="499" y="258"/>
                        </a:lnTo>
                        <a:lnTo>
                          <a:pt x="511" y="258"/>
                        </a:lnTo>
                        <a:lnTo>
                          <a:pt x="516" y="260"/>
                        </a:lnTo>
                        <a:lnTo>
                          <a:pt x="520" y="267"/>
                        </a:lnTo>
                        <a:lnTo>
                          <a:pt x="525" y="284"/>
                        </a:lnTo>
                        <a:lnTo>
                          <a:pt x="527" y="291"/>
                        </a:lnTo>
                        <a:lnTo>
                          <a:pt x="532" y="298"/>
                        </a:lnTo>
                        <a:lnTo>
                          <a:pt x="539" y="298"/>
                        </a:lnTo>
                        <a:lnTo>
                          <a:pt x="539" y="298"/>
                        </a:lnTo>
                        <a:lnTo>
                          <a:pt x="539" y="300"/>
                        </a:lnTo>
                        <a:lnTo>
                          <a:pt x="542" y="305"/>
                        </a:lnTo>
                        <a:lnTo>
                          <a:pt x="542" y="305"/>
                        </a:lnTo>
                        <a:lnTo>
                          <a:pt x="542" y="307"/>
                        </a:lnTo>
                        <a:lnTo>
                          <a:pt x="539" y="310"/>
                        </a:lnTo>
                        <a:lnTo>
                          <a:pt x="539" y="315"/>
                        </a:lnTo>
                        <a:lnTo>
                          <a:pt x="539" y="317"/>
                        </a:lnTo>
                        <a:lnTo>
                          <a:pt x="539" y="319"/>
                        </a:lnTo>
                        <a:lnTo>
                          <a:pt x="539" y="324"/>
                        </a:lnTo>
                        <a:lnTo>
                          <a:pt x="539" y="324"/>
                        </a:lnTo>
                        <a:lnTo>
                          <a:pt x="539" y="326"/>
                        </a:lnTo>
                        <a:lnTo>
                          <a:pt x="520" y="355"/>
                        </a:lnTo>
                        <a:lnTo>
                          <a:pt x="518" y="357"/>
                        </a:lnTo>
                        <a:lnTo>
                          <a:pt x="516" y="360"/>
                        </a:lnTo>
                        <a:lnTo>
                          <a:pt x="513" y="360"/>
                        </a:lnTo>
                        <a:lnTo>
                          <a:pt x="513" y="364"/>
                        </a:lnTo>
                        <a:lnTo>
                          <a:pt x="516" y="364"/>
                        </a:lnTo>
                        <a:lnTo>
                          <a:pt x="516" y="369"/>
                        </a:lnTo>
                        <a:lnTo>
                          <a:pt x="516" y="369"/>
                        </a:lnTo>
                        <a:lnTo>
                          <a:pt x="516" y="374"/>
                        </a:lnTo>
                        <a:lnTo>
                          <a:pt x="513" y="378"/>
                        </a:lnTo>
                        <a:lnTo>
                          <a:pt x="506" y="388"/>
                        </a:lnTo>
                        <a:lnTo>
                          <a:pt x="499" y="402"/>
                        </a:lnTo>
                        <a:lnTo>
                          <a:pt x="494" y="414"/>
                        </a:lnTo>
                        <a:lnTo>
                          <a:pt x="490" y="426"/>
                        </a:lnTo>
                        <a:lnTo>
                          <a:pt x="487" y="428"/>
                        </a:lnTo>
                        <a:lnTo>
                          <a:pt x="487" y="431"/>
                        </a:lnTo>
                        <a:lnTo>
                          <a:pt x="485" y="433"/>
                        </a:lnTo>
                        <a:lnTo>
                          <a:pt x="485" y="435"/>
                        </a:lnTo>
                        <a:lnTo>
                          <a:pt x="473" y="445"/>
                        </a:lnTo>
                        <a:lnTo>
                          <a:pt x="468" y="447"/>
                        </a:lnTo>
                        <a:lnTo>
                          <a:pt x="466" y="447"/>
                        </a:lnTo>
                        <a:lnTo>
                          <a:pt x="466" y="447"/>
                        </a:lnTo>
                        <a:lnTo>
                          <a:pt x="466" y="447"/>
                        </a:lnTo>
                        <a:lnTo>
                          <a:pt x="466" y="445"/>
                        </a:lnTo>
                        <a:lnTo>
                          <a:pt x="466" y="442"/>
                        </a:lnTo>
                        <a:lnTo>
                          <a:pt x="466" y="440"/>
                        </a:lnTo>
                        <a:lnTo>
                          <a:pt x="466" y="438"/>
                        </a:lnTo>
                        <a:lnTo>
                          <a:pt x="464" y="438"/>
                        </a:lnTo>
                        <a:lnTo>
                          <a:pt x="464" y="435"/>
                        </a:lnTo>
                        <a:lnTo>
                          <a:pt x="461" y="433"/>
                        </a:lnTo>
                        <a:lnTo>
                          <a:pt x="459" y="431"/>
                        </a:lnTo>
                        <a:lnTo>
                          <a:pt x="459" y="431"/>
                        </a:lnTo>
                        <a:lnTo>
                          <a:pt x="457" y="428"/>
                        </a:lnTo>
                        <a:lnTo>
                          <a:pt x="457" y="426"/>
                        </a:lnTo>
                        <a:lnTo>
                          <a:pt x="457" y="421"/>
                        </a:lnTo>
                        <a:lnTo>
                          <a:pt x="457" y="421"/>
                        </a:lnTo>
                        <a:lnTo>
                          <a:pt x="457" y="419"/>
                        </a:lnTo>
                        <a:lnTo>
                          <a:pt x="454" y="419"/>
                        </a:lnTo>
                        <a:lnTo>
                          <a:pt x="454" y="416"/>
                        </a:lnTo>
                        <a:lnTo>
                          <a:pt x="452" y="416"/>
                        </a:lnTo>
                        <a:lnTo>
                          <a:pt x="440" y="409"/>
                        </a:lnTo>
                        <a:lnTo>
                          <a:pt x="438" y="409"/>
                        </a:lnTo>
                        <a:lnTo>
                          <a:pt x="438" y="407"/>
                        </a:lnTo>
                        <a:lnTo>
                          <a:pt x="435" y="407"/>
                        </a:lnTo>
                        <a:lnTo>
                          <a:pt x="435" y="407"/>
                        </a:lnTo>
                        <a:lnTo>
                          <a:pt x="433" y="409"/>
                        </a:lnTo>
                        <a:lnTo>
                          <a:pt x="430" y="412"/>
                        </a:lnTo>
                        <a:lnTo>
                          <a:pt x="430" y="414"/>
                        </a:lnTo>
                        <a:lnTo>
                          <a:pt x="428" y="414"/>
                        </a:lnTo>
                        <a:lnTo>
                          <a:pt x="426" y="412"/>
                        </a:lnTo>
                        <a:lnTo>
                          <a:pt x="423" y="412"/>
                        </a:lnTo>
                        <a:lnTo>
                          <a:pt x="421" y="409"/>
                        </a:lnTo>
                        <a:lnTo>
                          <a:pt x="421" y="409"/>
                        </a:lnTo>
                        <a:lnTo>
                          <a:pt x="419" y="404"/>
                        </a:lnTo>
                        <a:lnTo>
                          <a:pt x="416" y="404"/>
                        </a:lnTo>
                        <a:lnTo>
                          <a:pt x="416" y="404"/>
                        </a:lnTo>
                        <a:lnTo>
                          <a:pt x="414" y="402"/>
                        </a:lnTo>
                        <a:lnTo>
                          <a:pt x="409" y="402"/>
                        </a:lnTo>
                        <a:lnTo>
                          <a:pt x="407" y="400"/>
                        </a:lnTo>
                        <a:lnTo>
                          <a:pt x="407" y="400"/>
                        </a:lnTo>
                        <a:lnTo>
                          <a:pt x="404" y="400"/>
                        </a:lnTo>
                        <a:lnTo>
                          <a:pt x="404" y="397"/>
                        </a:lnTo>
                        <a:lnTo>
                          <a:pt x="402" y="400"/>
                        </a:lnTo>
                        <a:lnTo>
                          <a:pt x="402" y="400"/>
                        </a:lnTo>
                        <a:lnTo>
                          <a:pt x="390" y="414"/>
                        </a:lnTo>
                        <a:lnTo>
                          <a:pt x="388" y="421"/>
                        </a:lnTo>
                        <a:lnTo>
                          <a:pt x="388" y="423"/>
                        </a:lnTo>
                        <a:lnTo>
                          <a:pt x="386" y="423"/>
                        </a:lnTo>
                        <a:lnTo>
                          <a:pt x="381" y="431"/>
                        </a:lnTo>
                        <a:lnTo>
                          <a:pt x="378" y="431"/>
                        </a:lnTo>
                        <a:lnTo>
                          <a:pt x="371" y="433"/>
                        </a:lnTo>
                        <a:lnTo>
                          <a:pt x="369" y="433"/>
                        </a:lnTo>
                        <a:lnTo>
                          <a:pt x="369" y="435"/>
                        </a:lnTo>
                        <a:lnTo>
                          <a:pt x="367" y="440"/>
                        </a:lnTo>
                        <a:lnTo>
                          <a:pt x="367" y="442"/>
                        </a:lnTo>
                        <a:lnTo>
                          <a:pt x="369" y="445"/>
                        </a:lnTo>
                        <a:lnTo>
                          <a:pt x="371" y="447"/>
                        </a:lnTo>
                        <a:lnTo>
                          <a:pt x="371" y="447"/>
                        </a:lnTo>
                        <a:lnTo>
                          <a:pt x="374" y="449"/>
                        </a:lnTo>
                        <a:lnTo>
                          <a:pt x="376" y="454"/>
                        </a:lnTo>
                        <a:lnTo>
                          <a:pt x="376" y="454"/>
                        </a:lnTo>
                        <a:lnTo>
                          <a:pt x="378" y="457"/>
                        </a:lnTo>
                        <a:lnTo>
                          <a:pt x="378" y="457"/>
                        </a:lnTo>
                        <a:lnTo>
                          <a:pt x="383" y="459"/>
                        </a:lnTo>
                        <a:lnTo>
                          <a:pt x="383" y="459"/>
                        </a:lnTo>
                        <a:lnTo>
                          <a:pt x="386" y="461"/>
                        </a:lnTo>
                        <a:lnTo>
                          <a:pt x="386" y="461"/>
                        </a:lnTo>
                        <a:lnTo>
                          <a:pt x="386" y="461"/>
                        </a:lnTo>
                        <a:lnTo>
                          <a:pt x="383" y="464"/>
                        </a:lnTo>
                        <a:lnTo>
                          <a:pt x="381" y="466"/>
                        </a:lnTo>
                        <a:lnTo>
                          <a:pt x="376" y="468"/>
                        </a:lnTo>
                        <a:lnTo>
                          <a:pt x="371" y="473"/>
                        </a:lnTo>
                        <a:lnTo>
                          <a:pt x="364" y="478"/>
                        </a:lnTo>
                        <a:lnTo>
                          <a:pt x="362" y="485"/>
                        </a:lnTo>
                        <a:lnTo>
                          <a:pt x="360" y="485"/>
                        </a:lnTo>
                        <a:lnTo>
                          <a:pt x="357" y="485"/>
                        </a:lnTo>
                        <a:lnTo>
                          <a:pt x="352" y="483"/>
                        </a:lnTo>
                        <a:lnTo>
                          <a:pt x="350" y="483"/>
                        </a:lnTo>
                        <a:lnTo>
                          <a:pt x="350" y="485"/>
                        </a:lnTo>
                        <a:lnTo>
                          <a:pt x="348" y="487"/>
                        </a:lnTo>
                        <a:lnTo>
                          <a:pt x="343" y="497"/>
                        </a:lnTo>
                        <a:lnTo>
                          <a:pt x="341" y="499"/>
                        </a:lnTo>
                        <a:lnTo>
                          <a:pt x="336" y="501"/>
                        </a:lnTo>
                        <a:lnTo>
                          <a:pt x="336" y="504"/>
                        </a:lnTo>
                        <a:lnTo>
                          <a:pt x="333" y="506"/>
                        </a:lnTo>
                        <a:lnTo>
                          <a:pt x="331" y="506"/>
                        </a:lnTo>
                        <a:lnTo>
                          <a:pt x="322" y="506"/>
                        </a:lnTo>
                        <a:lnTo>
                          <a:pt x="317" y="509"/>
                        </a:lnTo>
                        <a:lnTo>
                          <a:pt x="298" y="497"/>
                        </a:lnTo>
                        <a:lnTo>
                          <a:pt x="291" y="494"/>
                        </a:lnTo>
                        <a:lnTo>
                          <a:pt x="286" y="494"/>
                        </a:lnTo>
                        <a:lnTo>
                          <a:pt x="281" y="494"/>
                        </a:lnTo>
                        <a:lnTo>
                          <a:pt x="277" y="494"/>
                        </a:lnTo>
                        <a:lnTo>
                          <a:pt x="270" y="490"/>
                        </a:lnTo>
                        <a:lnTo>
                          <a:pt x="267" y="490"/>
                        </a:lnTo>
                        <a:lnTo>
                          <a:pt x="265" y="490"/>
                        </a:lnTo>
                        <a:lnTo>
                          <a:pt x="263" y="490"/>
                        </a:lnTo>
                        <a:lnTo>
                          <a:pt x="263" y="492"/>
                        </a:lnTo>
                        <a:lnTo>
                          <a:pt x="260" y="492"/>
                        </a:lnTo>
                        <a:lnTo>
                          <a:pt x="258" y="492"/>
                        </a:lnTo>
                        <a:lnTo>
                          <a:pt x="253" y="492"/>
                        </a:lnTo>
                        <a:lnTo>
                          <a:pt x="251" y="492"/>
                        </a:lnTo>
                        <a:lnTo>
                          <a:pt x="248" y="492"/>
                        </a:lnTo>
                        <a:lnTo>
                          <a:pt x="248" y="490"/>
                        </a:lnTo>
                        <a:lnTo>
                          <a:pt x="246" y="490"/>
                        </a:lnTo>
                        <a:lnTo>
                          <a:pt x="246" y="487"/>
                        </a:lnTo>
                        <a:lnTo>
                          <a:pt x="244" y="480"/>
                        </a:lnTo>
                        <a:lnTo>
                          <a:pt x="241" y="480"/>
                        </a:lnTo>
                        <a:lnTo>
                          <a:pt x="241" y="478"/>
                        </a:lnTo>
                        <a:lnTo>
                          <a:pt x="236" y="475"/>
                        </a:lnTo>
                        <a:lnTo>
                          <a:pt x="218" y="473"/>
                        </a:lnTo>
                        <a:lnTo>
                          <a:pt x="215" y="473"/>
                        </a:lnTo>
                        <a:lnTo>
                          <a:pt x="213" y="473"/>
                        </a:lnTo>
                        <a:lnTo>
                          <a:pt x="213" y="475"/>
                        </a:lnTo>
                        <a:lnTo>
                          <a:pt x="210" y="478"/>
                        </a:lnTo>
                        <a:lnTo>
                          <a:pt x="206" y="485"/>
                        </a:lnTo>
                        <a:lnTo>
                          <a:pt x="203" y="490"/>
                        </a:lnTo>
                        <a:lnTo>
                          <a:pt x="196" y="494"/>
                        </a:lnTo>
                        <a:lnTo>
                          <a:pt x="192" y="494"/>
                        </a:lnTo>
                        <a:lnTo>
                          <a:pt x="187" y="497"/>
                        </a:lnTo>
                        <a:lnTo>
                          <a:pt x="184" y="497"/>
                        </a:lnTo>
                        <a:lnTo>
                          <a:pt x="182" y="497"/>
                        </a:lnTo>
                        <a:lnTo>
                          <a:pt x="180" y="494"/>
                        </a:lnTo>
                        <a:lnTo>
                          <a:pt x="180" y="494"/>
                        </a:lnTo>
                        <a:lnTo>
                          <a:pt x="177" y="494"/>
                        </a:lnTo>
                        <a:lnTo>
                          <a:pt x="177" y="492"/>
                        </a:lnTo>
                        <a:lnTo>
                          <a:pt x="177" y="492"/>
                        </a:lnTo>
                        <a:lnTo>
                          <a:pt x="175" y="490"/>
                        </a:lnTo>
                        <a:lnTo>
                          <a:pt x="175" y="490"/>
                        </a:lnTo>
                        <a:lnTo>
                          <a:pt x="170" y="487"/>
                        </a:lnTo>
                        <a:lnTo>
                          <a:pt x="139" y="478"/>
                        </a:lnTo>
                        <a:lnTo>
                          <a:pt x="137" y="478"/>
                        </a:lnTo>
                        <a:lnTo>
                          <a:pt x="135" y="478"/>
                        </a:lnTo>
                        <a:lnTo>
                          <a:pt x="135" y="478"/>
                        </a:lnTo>
                        <a:lnTo>
                          <a:pt x="130" y="480"/>
                        </a:lnTo>
                        <a:lnTo>
                          <a:pt x="128" y="480"/>
                        </a:lnTo>
                        <a:lnTo>
                          <a:pt x="125" y="480"/>
                        </a:lnTo>
                        <a:lnTo>
                          <a:pt x="123" y="480"/>
                        </a:lnTo>
                        <a:lnTo>
                          <a:pt x="123" y="478"/>
                        </a:lnTo>
                        <a:lnTo>
                          <a:pt x="123" y="478"/>
                        </a:lnTo>
                        <a:lnTo>
                          <a:pt x="123" y="475"/>
                        </a:lnTo>
                        <a:lnTo>
                          <a:pt x="123" y="473"/>
                        </a:lnTo>
                        <a:lnTo>
                          <a:pt x="121" y="464"/>
                        </a:lnTo>
                        <a:lnTo>
                          <a:pt x="121" y="461"/>
                        </a:lnTo>
                        <a:lnTo>
                          <a:pt x="121" y="459"/>
                        </a:lnTo>
                        <a:lnTo>
                          <a:pt x="123" y="454"/>
                        </a:lnTo>
                        <a:lnTo>
                          <a:pt x="123" y="452"/>
                        </a:lnTo>
                        <a:lnTo>
                          <a:pt x="123" y="449"/>
                        </a:lnTo>
                        <a:lnTo>
                          <a:pt x="123" y="449"/>
                        </a:lnTo>
                        <a:lnTo>
                          <a:pt x="123" y="447"/>
                        </a:lnTo>
                        <a:lnTo>
                          <a:pt x="121" y="445"/>
                        </a:lnTo>
                        <a:lnTo>
                          <a:pt x="118" y="442"/>
                        </a:lnTo>
                        <a:lnTo>
                          <a:pt x="113" y="442"/>
                        </a:lnTo>
                        <a:lnTo>
                          <a:pt x="109" y="440"/>
                        </a:lnTo>
                        <a:lnTo>
                          <a:pt x="104" y="435"/>
                        </a:lnTo>
                        <a:lnTo>
                          <a:pt x="102" y="435"/>
                        </a:lnTo>
                        <a:lnTo>
                          <a:pt x="102" y="433"/>
                        </a:lnTo>
                        <a:lnTo>
                          <a:pt x="97" y="433"/>
                        </a:lnTo>
                        <a:lnTo>
                          <a:pt x="92" y="435"/>
                        </a:lnTo>
                        <a:lnTo>
                          <a:pt x="31" y="412"/>
                        </a:lnTo>
                        <a:lnTo>
                          <a:pt x="31" y="412"/>
                        </a:lnTo>
                        <a:lnTo>
                          <a:pt x="28" y="414"/>
                        </a:lnTo>
                        <a:lnTo>
                          <a:pt x="26" y="414"/>
                        </a:lnTo>
                        <a:lnTo>
                          <a:pt x="24" y="414"/>
                        </a:lnTo>
                        <a:lnTo>
                          <a:pt x="16" y="414"/>
                        </a:lnTo>
                        <a:lnTo>
                          <a:pt x="12" y="414"/>
                        </a:lnTo>
                        <a:lnTo>
                          <a:pt x="9" y="412"/>
                        </a:lnTo>
                        <a:lnTo>
                          <a:pt x="9" y="412"/>
                        </a:lnTo>
                        <a:lnTo>
                          <a:pt x="7" y="409"/>
                        </a:lnTo>
                        <a:lnTo>
                          <a:pt x="5" y="404"/>
                        </a:lnTo>
                        <a:lnTo>
                          <a:pt x="5" y="402"/>
                        </a:lnTo>
                        <a:lnTo>
                          <a:pt x="0" y="383"/>
                        </a:lnTo>
                        <a:lnTo>
                          <a:pt x="0" y="383"/>
                        </a:lnTo>
                        <a:lnTo>
                          <a:pt x="0" y="381"/>
                        </a:lnTo>
                        <a:lnTo>
                          <a:pt x="9" y="371"/>
                        </a:lnTo>
                        <a:lnTo>
                          <a:pt x="16" y="364"/>
                        </a:lnTo>
                        <a:lnTo>
                          <a:pt x="16" y="362"/>
                        </a:lnTo>
                        <a:lnTo>
                          <a:pt x="16" y="360"/>
                        </a:lnTo>
                        <a:lnTo>
                          <a:pt x="19" y="360"/>
                        </a:lnTo>
                        <a:lnTo>
                          <a:pt x="19" y="355"/>
                        </a:lnTo>
                        <a:lnTo>
                          <a:pt x="19" y="350"/>
                        </a:lnTo>
                        <a:lnTo>
                          <a:pt x="21" y="350"/>
                        </a:lnTo>
                        <a:lnTo>
                          <a:pt x="21" y="348"/>
                        </a:lnTo>
                        <a:lnTo>
                          <a:pt x="35" y="352"/>
                        </a:lnTo>
                        <a:lnTo>
                          <a:pt x="47" y="352"/>
                        </a:lnTo>
                        <a:lnTo>
                          <a:pt x="52" y="355"/>
                        </a:lnTo>
                        <a:lnTo>
                          <a:pt x="57" y="360"/>
                        </a:lnTo>
                        <a:lnTo>
                          <a:pt x="59" y="360"/>
                        </a:lnTo>
                        <a:lnTo>
                          <a:pt x="61" y="360"/>
                        </a:lnTo>
                        <a:lnTo>
                          <a:pt x="66" y="360"/>
                        </a:lnTo>
                        <a:lnTo>
                          <a:pt x="68" y="360"/>
                        </a:lnTo>
                        <a:lnTo>
                          <a:pt x="71" y="360"/>
                        </a:lnTo>
                        <a:lnTo>
                          <a:pt x="73" y="357"/>
                        </a:lnTo>
                        <a:lnTo>
                          <a:pt x="73" y="355"/>
                        </a:lnTo>
                        <a:lnTo>
                          <a:pt x="76" y="355"/>
                        </a:lnTo>
                        <a:lnTo>
                          <a:pt x="78" y="357"/>
                        </a:lnTo>
                        <a:lnTo>
                          <a:pt x="83" y="357"/>
                        </a:lnTo>
                        <a:lnTo>
                          <a:pt x="83" y="357"/>
                        </a:lnTo>
                        <a:lnTo>
                          <a:pt x="85" y="355"/>
                        </a:lnTo>
                        <a:lnTo>
                          <a:pt x="85" y="355"/>
                        </a:lnTo>
                        <a:lnTo>
                          <a:pt x="87" y="352"/>
                        </a:lnTo>
                        <a:lnTo>
                          <a:pt x="87" y="352"/>
                        </a:lnTo>
                        <a:lnTo>
                          <a:pt x="87" y="350"/>
                        </a:lnTo>
                        <a:lnTo>
                          <a:pt x="87" y="350"/>
                        </a:lnTo>
                        <a:lnTo>
                          <a:pt x="87" y="348"/>
                        </a:lnTo>
                        <a:lnTo>
                          <a:pt x="85" y="345"/>
                        </a:lnTo>
                        <a:lnTo>
                          <a:pt x="85" y="345"/>
                        </a:lnTo>
                        <a:lnTo>
                          <a:pt x="85" y="343"/>
                        </a:lnTo>
                        <a:lnTo>
                          <a:pt x="85" y="341"/>
                        </a:lnTo>
                        <a:lnTo>
                          <a:pt x="90" y="338"/>
                        </a:lnTo>
                        <a:lnTo>
                          <a:pt x="99" y="334"/>
                        </a:lnTo>
                        <a:lnTo>
                          <a:pt x="104" y="331"/>
                        </a:lnTo>
                        <a:lnTo>
                          <a:pt x="104" y="329"/>
                        </a:lnTo>
                        <a:lnTo>
                          <a:pt x="104" y="329"/>
                        </a:lnTo>
                        <a:lnTo>
                          <a:pt x="102" y="329"/>
                        </a:lnTo>
                        <a:lnTo>
                          <a:pt x="99" y="329"/>
                        </a:lnTo>
                        <a:lnTo>
                          <a:pt x="99" y="329"/>
                        </a:lnTo>
                        <a:lnTo>
                          <a:pt x="95" y="329"/>
                        </a:lnTo>
                        <a:lnTo>
                          <a:pt x="90" y="329"/>
                        </a:lnTo>
                        <a:lnTo>
                          <a:pt x="90" y="329"/>
                        </a:lnTo>
                        <a:lnTo>
                          <a:pt x="87" y="326"/>
                        </a:lnTo>
                        <a:lnTo>
                          <a:pt x="87" y="326"/>
                        </a:lnTo>
                        <a:lnTo>
                          <a:pt x="85" y="324"/>
                        </a:lnTo>
                        <a:lnTo>
                          <a:pt x="85" y="322"/>
                        </a:lnTo>
                        <a:lnTo>
                          <a:pt x="85" y="322"/>
                        </a:lnTo>
                        <a:lnTo>
                          <a:pt x="83" y="319"/>
                        </a:lnTo>
                        <a:lnTo>
                          <a:pt x="83" y="319"/>
                        </a:lnTo>
                        <a:lnTo>
                          <a:pt x="83" y="319"/>
                        </a:lnTo>
                        <a:lnTo>
                          <a:pt x="80" y="317"/>
                        </a:lnTo>
                        <a:lnTo>
                          <a:pt x="76" y="317"/>
                        </a:lnTo>
                        <a:lnTo>
                          <a:pt x="73" y="317"/>
                        </a:lnTo>
                        <a:lnTo>
                          <a:pt x="71" y="317"/>
                        </a:lnTo>
                        <a:lnTo>
                          <a:pt x="71" y="315"/>
                        </a:lnTo>
                        <a:lnTo>
                          <a:pt x="71" y="315"/>
                        </a:lnTo>
                        <a:lnTo>
                          <a:pt x="64" y="307"/>
                        </a:lnTo>
                        <a:lnTo>
                          <a:pt x="64" y="307"/>
                        </a:lnTo>
                        <a:lnTo>
                          <a:pt x="64" y="305"/>
                        </a:lnTo>
                        <a:lnTo>
                          <a:pt x="57" y="300"/>
                        </a:lnTo>
                        <a:lnTo>
                          <a:pt x="54" y="300"/>
                        </a:lnTo>
                        <a:lnTo>
                          <a:pt x="54" y="298"/>
                        </a:lnTo>
                        <a:lnTo>
                          <a:pt x="52" y="296"/>
                        </a:lnTo>
                        <a:lnTo>
                          <a:pt x="50" y="293"/>
                        </a:lnTo>
                        <a:lnTo>
                          <a:pt x="50" y="286"/>
                        </a:lnTo>
                        <a:lnTo>
                          <a:pt x="47" y="284"/>
                        </a:lnTo>
                        <a:lnTo>
                          <a:pt x="47" y="284"/>
                        </a:lnTo>
                        <a:lnTo>
                          <a:pt x="45" y="281"/>
                        </a:lnTo>
                        <a:lnTo>
                          <a:pt x="42" y="279"/>
                        </a:lnTo>
                        <a:lnTo>
                          <a:pt x="40" y="279"/>
                        </a:lnTo>
                        <a:lnTo>
                          <a:pt x="31" y="277"/>
                        </a:lnTo>
                        <a:lnTo>
                          <a:pt x="31" y="274"/>
                        </a:lnTo>
                        <a:lnTo>
                          <a:pt x="28" y="274"/>
                        </a:lnTo>
                        <a:lnTo>
                          <a:pt x="28" y="272"/>
                        </a:lnTo>
                        <a:lnTo>
                          <a:pt x="28" y="267"/>
                        </a:lnTo>
                        <a:lnTo>
                          <a:pt x="28" y="265"/>
                        </a:lnTo>
                        <a:lnTo>
                          <a:pt x="28" y="265"/>
                        </a:lnTo>
                        <a:lnTo>
                          <a:pt x="31" y="255"/>
                        </a:lnTo>
                        <a:lnTo>
                          <a:pt x="33" y="251"/>
                        </a:lnTo>
                        <a:lnTo>
                          <a:pt x="31" y="248"/>
                        </a:lnTo>
                        <a:lnTo>
                          <a:pt x="31" y="248"/>
                        </a:lnTo>
                        <a:lnTo>
                          <a:pt x="28" y="248"/>
                        </a:lnTo>
                        <a:lnTo>
                          <a:pt x="24" y="246"/>
                        </a:lnTo>
                        <a:lnTo>
                          <a:pt x="21" y="246"/>
                        </a:lnTo>
                        <a:lnTo>
                          <a:pt x="19" y="244"/>
                        </a:lnTo>
                        <a:lnTo>
                          <a:pt x="16" y="244"/>
                        </a:lnTo>
                        <a:lnTo>
                          <a:pt x="16" y="241"/>
                        </a:lnTo>
                        <a:lnTo>
                          <a:pt x="14" y="239"/>
                        </a:lnTo>
                        <a:lnTo>
                          <a:pt x="14" y="237"/>
                        </a:lnTo>
                        <a:lnTo>
                          <a:pt x="14" y="232"/>
                        </a:lnTo>
                        <a:lnTo>
                          <a:pt x="14" y="229"/>
                        </a:lnTo>
                        <a:lnTo>
                          <a:pt x="14" y="229"/>
                        </a:lnTo>
                        <a:lnTo>
                          <a:pt x="14" y="227"/>
                        </a:lnTo>
                        <a:lnTo>
                          <a:pt x="19" y="222"/>
                        </a:lnTo>
                        <a:lnTo>
                          <a:pt x="19" y="222"/>
                        </a:lnTo>
                        <a:lnTo>
                          <a:pt x="21" y="220"/>
                        </a:lnTo>
                        <a:lnTo>
                          <a:pt x="21" y="215"/>
                        </a:lnTo>
                        <a:lnTo>
                          <a:pt x="21" y="213"/>
                        </a:lnTo>
                        <a:lnTo>
                          <a:pt x="21" y="210"/>
                        </a:lnTo>
                        <a:lnTo>
                          <a:pt x="21" y="208"/>
                        </a:lnTo>
                        <a:lnTo>
                          <a:pt x="21" y="208"/>
                        </a:lnTo>
                        <a:lnTo>
                          <a:pt x="21" y="206"/>
                        </a:lnTo>
                        <a:lnTo>
                          <a:pt x="21" y="203"/>
                        </a:lnTo>
                        <a:lnTo>
                          <a:pt x="19" y="203"/>
                        </a:lnTo>
                        <a:lnTo>
                          <a:pt x="19" y="201"/>
                        </a:lnTo>
                        <a:lnTo>
                          <a:pt x="16" y="201"/>
                        </a:lnTo>
                        <a:lnTo>
                          <a:pt x="16" y="199"/>
                        </a:lnTo>
                        <a:lnTo>
                          <a:pt x="12" y="199"/>
                        </a:lnTo>
                        <a:lnTo>
                          <a:pt x="12" y="196"/>
                        </a:lnTo>
                        <a:lnTo>
                          <a:pt x="9" y="196"/>
                        </a:lnTo>
                        <a:lnTo>
                          <a:pt x="9" y="194"/>
                        </a:lnTo>
                        <a:lnTo>
                          <a:pt x="9" y="192"/>
                        </a:lnTo>
                        <a:lnTo>
                          <a:pt x="9" y="189"/>
                        </a:lnTo>
                        <a:lnTo>
                          <a:pt x="12" y="189"/>
                        </a:lnTo>
                        <a:lnTo>
                          <a:pt x="12" y="187"/>
                        </a:lnTo>
                        <a:lnTo>
                          <a:pt x="16" y="187"/>
                        </a:lnTo>
                        <a:lnTo>
                          <a:pt x="19" y="187"/>
                        </a:lnTo>
                        <a:lnTo>
                          <a:pt x="19" y="182"/>
                        </a:lnTo>
                        <a:lnTo>
                          <a:pt x="21" y="180"/>
                        </a:lnTo>
                        <a:lnTo>
                          <a:pt x="21" y="175"/>
                        </a:lnTo>
                        <a:lnTo>
                          <a:pt x="21" y="173"/>
                        </a:lnTo>
                        <a:lnTo>
                          <a:pt x="21" y="170"/>
                        </a:lnTo>
                        <a:lnTo>
                          <a:pt x="24" y="170"/>
                        </a:lnTo>
                        <a:lnTo>
                          <a:pt x="24" y="170"/>
                        </a:lnTo>
                        <a:lnTo>
                          <a:pt x="28" y="170"/>
                        </a:lnTo>
                        <a:lnTo>
                          <a:pt x="33" y="170"/>
                        </a:lnTo>
                        <a:lnTo>
                          <a:pt x="35" y="170"/>
                        </a:lnTo>
                        <a:lnTo>
                          <a:pt x="45" y="170"/>
                        </a:lnTo>
                        <a:lnTo>
                          <a:pt x="45" y="170"/>
                        </a:lnTo>
                        <a:lnTo>
                          <a:pt x="50" y="170"/>
                        </a:lnTo>
                        <a:lnTo>
                          <a:pt x="50" y="170"/>
                        </a:lnTo>
                        <a:lnTo>
                          <a:pt x="54" y="170"/>
                        </a:lnTo>
                        <a:lnTo>
                          <a:pt x="54" y="170"/>
                        </a:lnTo>
                        <a:lnTo>
                          <a:pt x="59" y="170"/>
                        </a:lnTo>
                        <a:lnTo>
                          <a:pt x="66" y="168"/>
                        </a:lnTo>
                        <a:lnTo>
                          <a:pt x="68" y="168"/>
                        </a:lnTo>
                        <a:lnTo>
                          <a:pt x="68" y="168"/>
                        </a:lnTo>
                        <a:lnTo>
                          <a:pt x="78" y="161"/>
                        </a:lnTo>
                        <a:lnTo>
                          <a:pt x="80" y="142"/>
                        </a:lnTo>
                        <a:lnTo>
                          <a:pt x="80" y="140"/>
                        </a:lnTo>
                        <a:lnTo>
                          <a:pt x="78" y="135"/>
                        </a:lnTo>
                        <a:lnTo>
                          <a:pt x="78" y="135"/>
                        </a:lnTo>
                        <a:lnTo>
                          <a:pt x="76" y="135"/>
                        </a:lnTo>
                        <a:lnTo>
                          <a:pt x="76" y="132"/>
                        </a:lnTo>
                        <a:lnTo>
                          <a:pt x="73" y="132"/>
                        </a:lnTo>
                        <a:lnTo>
                          <a:pt x="71" y="132"/>
                        </a:lnTo>
                        <a:lnTo>
                          <a:pt x="68" y="132"/>
                        </a:lnTo>
                        <a:lnTo>
                          <a:pt x="68" y="132"/>
                        </a:lnTo>
                        <a:lnTo>
                          <a:pt x="66" y="130"/>
                        </a:lnTo>
                        <a:lnTo>
                          <a:pt x="64" y="130"/>
                        </a:lnTo>
                        <a:lnTo>
                          <a:pt x="64" y="128"/>
                        </a:lnTo>
                        <a:lnTo>
                          <a:pt x="61" y="125"/>
                        </a:lnTo>
                        <a:lnTo>
                          <a:pt x="61" y="123"/>
                        </a:lnTo>
                        <a:lnTo>
                          <a:pt x="61" y="121"/>
                        </a:lnTo>
                        <a:lnTo>
                          <a:pt x="83" y="113"/>
                        </a:lnTo>
                        <a:lnTo>
                          <a:pt x="85" y="111"/>
                        </a:lnTo>
                        <a:lnTo>
                          <a:pt x="87" y="109"/>
                        </a:lnTo>
                        <a:lnTo>
                          <a:pt x="87" y="106"/>
                        </a:lnTo>
                        <a:lnTo>
                          <a:pt x="87" y="104"/>
                        </a:lnTo>
                        <a:lnTo>
                          <a:pt x="90" y="102"/>
                        </a:lnTo>
                        <a:lnTo>
                          <a:pt x="90" y="97"/>
                        </a:lnTo>
                        <a:lnTo>
                          <a:pt x="92" y="95"/>
                        </a:lnTo>
                        <a:lnTo>
                          <a:pt x="97" y="92"/>
                        </a:lnTo>
                        <a:lnTo>
                          <a:pt x="102" y="92"/>
                        </a:lnTo>
                        <a:lnTo>
                          <a:pt x="102" y="90"/>
                        </a:lnTo>
                        <a:lnTo>
                          <a:pt x="104" y="87"/>
                        </a:lnTo>
                        <a:lnTo>
                          <a:pt x="104" y="87"/>
                        </a:lnTo>
                        <a:lnTo>
                          <a:pt x="104" y="85"/>
                        </a:lnTo>
                        <a:lnTo>
                          <a:pt x="104" y="80"/>
                        </a:lnTo>
                        <a:lnTo>
                          <a:pt x="104" y="80"/>
                        </a:lnTo>
                        <a:lnTo>
                          <a:pt x="104" y="78"/>
                        </a:lnTo>
                        <a:lnTo>
                          <a:pt x="106" y="76"/>
                        </a:lnTo>
                        <a:lnTo>
                          <a:pt x="106" y="73"/>
                        </a:lnTo>
                        <a:lnTo>
                          <a:pt x="109" y="71"/>
                        </a:lnTo>
                        <a:lnTo>
                          <a:pt x="111" y="64"/>
                        </a:lnTo>
                        <a:lnTo>
                          <a:pt x="111" y="59"/>
                        </a:lnTo>
                        <a:lnTo>
                          <a:pt x="113" y="57"/>
                        </a:lnTo>
                        <a:lnTo>
                          <a:pt x="116" y="57"/>
                        </a:lnTo>
                        <a:lnTo>
                          <a:pt x="116" y="57"/>
                        </a:lnTo>
                        <a:lnTo>
                          <a:pt x="118" y="57"/>
                        </a:lnTo>
                        <a:lnTo>
                          <a:pt x="121" y="59"/>
                        </a:lnTo>
                        <a:lnTo>
                          <a:pt x="121" y="59"/>
                        </a:lnTo>
                        <a:lnTo>
                          <a:pt x="123" y="59"/>
                        </a:lnTo>
                        <a:lnTo>
                          <a:pt x="125" y="59"/>
                        </a:lnTo>
                        <a:lnTo>
                          <a:pt x="128" y="59"/>
                        </a:lnTo>
                        <a:lnTo>
                          <a:pt x="135" y="54"/>
                        </a:lnTo>
                        <a:lnTo>
                          <a:pt x="137" y="54"/>
                        </a:lnTo>
                        <a:lnTo>
                          <a:pt x="137" y="54"/>
                        </a:lnTo>
                        <a:lnTo>
                          <a:pt x="142" y="54"/>
                        </a:lnTo>
                        <a:lnTo>
                          <a:pt x="142" y="54"/>
                        </a:lnTo>
                        <a:lnTo>
                          <a:pt x="144" y="54"/>
                        </a:lnTo>
                        <a:lnTo>
                          <a:pt x="154" y="50"/>
                        </a:lnTo>
                        <a:lnTo>
                          <a:pt x="158" y="47"/>
                        </a:lnTo>
                        <a:lnTo>
                          <a:pt x="158" y="45"/>
                        </a:lnTo>
                        <a:lnTo>
                          <a:pt x="161" y="45"/>
                        </a:lnTo>
                        <a:lnTo>
                          <a:pt x="161" y="42"/>
                        </a:lnTo>
                        <a:lnTo>
                          <a:pt x="161" y="40"/>
                        </a:lnTo>
                        <a:lnTo>
                          <a:pt x="161" y="40"/>
                        </a:lnTo>
                        <a:lnTo>
                          <a:pt x="161" y="35"/>
                        </a:lnTo>
                        <a:lnTo>
                          <a:pt x="161" y="33"/>
                        </a:lnTo>
                        <a:lnTo>
                          <a:pt x="161" y="31"/>
                        </a:lnTo>
                        <a:lnTo>
                          <a:pt x="163" y="28"/>
                        </a:lnTo>
                        <a:lnTo>
                          <a:pt x="166" y="26"/>
                        </a:lnTo>
                        <a:lnTo>
                          <a:pt x="168" y="26"/>
                        </a:lnTo>
                        <a:lnTo>
                          <a:pt x="173" y="24"/>
                        </a:lnTo>
                        <a:lnTo>
                          <a:pt x="177" y="21"/>
                        </a:lnTo>
                        <a:lnTo>
                          <a:pt x="194" y="12"/>
                        </a:lnTo>
                        <a:lnTo>
                          <a:pt x="215" y="2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36" name="Freeform 35">
                    <a:extLst>
                      <a:ext uri="{FF2B5EF4-FFF2-40B4-BE49-F238E27FC236}">
                        <a16:creationId xmlns:a16="http://schemas.microsoft.com/office/drawing/2014/main" id="{2A68A8A9-FA87-49AF-8697-24DC9BC35031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458179" y="4501800"/>
                    <a:ext cx="6910" cy="11514"/>
                  </a:xfrm>
                  <a:custGeom>
                    <a:avLst/>
                    <a:gdLst>
                      <a:gd name="T0" fmla="*/ 0 w 5"/>
                      <a:gd name="T1" fmla="*/ 5 h 8"/>
                      <a:gd name="T2" fmla="*/ 0 w 5"/>
                      <a:gd name="T3" fmla="*/ 5 h 8"/>
                      <a:gd name="T4" fmla="*/ 3 w 5"/>
                      <a:gd name="T5" fmla="*/ 3 h 8"/>
                      <a:gd name="T6" fmla="*/ 5 w 5"/>
                      <a:gd name="T7" fmla="*/ 0 h 8"/>
                      <a:gd name="T8" fmla="*/ 3 w 5"/>
                      <a:gd name="T9" fmla="*/ 5 h 8"/>
                      <a:gd name="T10" fmla="*/ 0 w 5"/>
                      <a:gd name="T11" fmla="*/ 8 h 8"/>
                      <a:gd name="T12" fmla="*/ 0 w 5"/>
                      <a:gd name="T13" fmla="*/ 5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" h="8">
                        <a:moveTo>
                          <a:pt x="0" y="5"/>
                        </a:moveTo>
                        <a:lnTo>
                          <a:pt x="0" y="5"/>
                        </a:lnTo>
                        <a:lnTo>
                          <a:pt x="3" y="3"/>
                        </a:lnTo>
                        <a:lnTo>
                          <a:pt x="5" y="0"/>
                        </a:lnTo>
                        <a:lnTo>
                          <a:pt x="3" y="5"/>
                        </a:lnTo>
                        <a:lnTo>
                          <a:pt x="0" y="8"/>
                        </a:lnTo>
                        <a:lnTo>
                          <a:pt x="0" y="5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37" name="Freeform 36">
                    <a:extLst>
                      <a:ext uri="{FF2B5EF4-FFF2-40B4-BE49-F238E27FC236}">
                        <a16:creationId xmlns:a16="http://schemas.microsoft.com/office/drawing/2014/main" id="{6AA4DE51-21AE-421B-9D6F-0966E9E21CB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458179" y="4501800"/>
                    <a:ext cx="6910" cy="11514"/>
                  </a:xfrm>
                  <a:custGeom>
                    <a:avLst/>
                    <a:gdLst>
                      <a:gd name="T0" fmla="*/ 0 w 5"/>
                      <a:gd name="T1" fmla="*/ 5 h 8"/>
                      <a:gd name="T2" fmla="*/ 0 w 5"/>
                      <a:gd name="T3" fmla="*/ 5 h 8"/>
                      <a:gd name="T4" fmla="*/ 3 w 5"/>
                      <a:gd name="T5" fmla="*/ 3 h 8"/>
                      <a:gd name="T6" fmla="*/ 5 w 5"/>
                      <a:gd name="T7" fmla="*/ 0 h 8"/>
                      <a:gd name="T8" fmla="*/ 3 w 5"/>
                      <a:gd name="T9" fmla="*/ 5 h 8"/>
                      <a:gd name="T10" fmla="*/ 0 w 5"/>
                      <a:gd name="T11" fmla="*/ 8 h 8"/>
                      <a:gd name="T12" fmla="*/ 0 w 5"/>
                      <a:gd name="T13" fmla="*/ 5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" h="8">
                        <a:moveTo>
                          <a:pt x="0" y="5"/>
                        </a:moveTo>
                        <a:lnTo>
                          <a:pt x="0" y="5"/>
                        </a:lnTo>
                        <a:lnTo>
                          <a:pt x="3" y="3"/>
                        </a:lnTo>
                        <a:lnTo>
                          <a:pt x="5" y="0"/>
                        </a:lnTo>
                        <a:lnTo>
                          <a:pt x="3" y="5"/>
                        </a:lnTo>
                        <a:lnTo>
                          <a:pt x="0" y="8"/>
                        </a:lnTo>
                        <a:lnTo>
                          <a:pt x="0" y="5"/>
                        </a:lnTo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  <a:extLst/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38" name="Freeform 37">
                    <a:extLst>
                      <a:ext uri="{FF2B5EF4-FFF2-40B4-BE49-F238E27FC236}">
                        <a16:creationId xmlns:a16="http://schemas.microsoft.com/office/drawing/2014/main" id="{E412A31A-09EE-4A8E-8248-7EAB19739603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557670" y="3474777"/>
                    <a:ext cx="1075544" cy="826685"/>
                  </a:xfrm>
                  <a:custGeom>
                    <a:avLst/>
                    <a:gdLst>
                      <a:gd name="T0" fmla="*/ 840 w 847"/>
                      <a:gd name="T1" fmla="*/ 492 h 651"/>
                      <a:gd name="T2" fmla="*/ 806 w 847"/>
                      <a:gd name="T3" fmla="*/ 526 h 651"/>
                      <a:gd name="T4" fmla="*/ 816 w 847"/>
                      <a:gd name="T5" fmla="*/ 575 h 651"/>
                      <a:gd name="T6" fmla="*/ 802 w 847"/>
                      <a:gd name="T7" fmla="*/ 596 h 651"/>
                      <a:gd name="T8" fmla="*/ 735 w 847"/>
                      <a:gd name="T9" fmla="*/ 611 h 651"/>
                      <a:gd name="T10" fmla="*/ 648 w 847"/>
                      <a:gd name="T11" fmla="*/ 608 h 651"/>
                      <a:gd name="T12" fmla="*/ 556 w 847"/>
                      <a:gd name="T13" fmla="*/ 632 h 651"/>
                      <a:gd name="T14" fmla="*/ 428 w 847"/>
                      <a:gd name="T15" fmla="*/ 570 h 651"/>
                      <a:gd name="T16" fmla="*/ 284 w 847"/>
                      <a:gd name="T17" fmla="*/ 476 h 651"/>
                      <a:gd name="T18" fmla="*/ 206 w 847"/>
                      <a:gd name="T19" fmla="*/ 388 h 651"/>
                      <a:gd name="T20" fmla="*/ 137 w 847"/>
                      <a:gd name="T21" fmla="*/ 369 h 651"/>
                      <a:gd name="T22" fmla="*/ 68 w 847"/>
                      <a:gd name="T23" fmla="*/ 275 h 651"/>
                      <a:gd name="T24" fmla="*/ 40 w 847"/>
                      <a:gd name="T25" fmla="*/ 208 h 651"/>
                      <a:gd name="T26" fmla="*/ 28 w 847"/>
                      <a:gd name="T27" fmla="*/ 180 h 651"/>
                      <a:gd name="T28" fmla="*/ 30 w 847"/>
                      <a:gd name="T29" fmla="*/ 156 h 651"/>
                      <a:gd name="T30" fmla="*/ 61 w 847"/>
                      <a:gd name="T31" fmla="*/ 138 h 651"/>
                      <a:gd name="T32" fmla="*/ 78 w 847"/>
                      <a:gd name="T33" fmla="*/ 116 h 651"/>
                      <a:gd name="T34" fmla="*/ 85 w 847"/>
                      <a:gd name="T35" fmla="*/ 81 h 651"/>
                      <a:gd name="T36" fmla="*/ 78 w 847"/>
                      <a:gd name="T37" fmla="*/ 59 h 651"/>
                      <a:gd name="T38" fmla="*/ 82 w 847"/>
                      <a:gd name="T39" fmla="*/ 43 h 651"/>
                      <a:gd name="T40" fmla="*/ 137 w 847"/>
                      <a:gd name="T41" fmla="*/ 59 h 651"/>
                      <a:gd name="T42" fmla="*/ 127 w 847"/>
                      <a:gd name="T43" fmla="*/ 78 h 651"/>
                      <a:gd name="T44" fmla="*/ 172 w 847"/>
                      <a:gd name="T45" fmla="*/ 97 h 651"/>
                      <a:gd name="T46" fmla="*/ 198 w 847"/>
                      <a:gd name="T47" fmla="*/ 83 h 651"/>
                      <a:gd name="T48" fmla="*/ 239 w 847"/>
                      <a:gd name="T49" fmla="*/ 126 h 651"/>
                      <a:gd name="T50" fmla="*/ 260 w 847"/>
                      <a:gd name="T51" fmla="*/ 152 h 651"/>
                      <a:gd name="T52" fmla="*/ 305 w 847"/>
                      <a:gd name="T53" fmla="*/ 175 h 651"/>
                      <a:gd name="T54" fmla="*/ 326 w 847"/>
                      <a:gd name="T55" fmla="*/ 187 h 651"/>
                      <a:gd name="T56" fmla="*/ 355 w 847"/>
                      <a:gd name="T57" fmla="*/ 168 h 651"/>
                      <a:gd name="T58" fmla="*/ 357 w 847"/>
                      <a:gd name="T59" fmla="*/ 149 h 651"/>
                      <a:gd name="T60" fmla="*/ 388 w 847"/>
                      <a:gd name="T61" fmla="*/ 145 h 651"/>
                      <a:gd name="T62" fmla="*/ 397 w 847"/>
                      <a:gd name="T63" fmla="*/ 126 h 651"/>
                      <a:gd name="T64" fmla="*/ 433 w 847"/>
                      <a:gd name="T65" fmla="*/ 76 h 651"/>
                      <a:gd name="T66" fmla="*/ 473 w 847"/>
                      <a:gd name="T67" fmla="*/ 62 h 651"/>
                      <a:gd name="T68" fmla="*/ 506 w 847"/>
                      <a:gd name="T69" fmla="*/ 48 h 651"/>
                      <a:gd name="T70" fmla="*/ 513 w 847"/>
                      <a:gd name="T71" fmla="*/ 22 h 651"/>
                      <a:gd name="T72" fmla="*/ 534 w 847"/>
                      <a:gd name="T73" fmla="*/ 0 h 651"/>
                      <a:gd name="T74" fmla="*/ 565 w 847"/>
                      <a:gd name="T75" fmla="*/ 31 h 651"/>
                      <a:gd name="T76" fmla="*/ 577 w 847"/>
                      <a:gd name="T77" fmla="*/ 62 h 651"/>
                      <a:gd name="T78" fmla="*/ 534 w 847"/>
                      <a:gd name="T79" fmla="*/ 71 h 651"/>
                      <a:gd name="T80" fmla="*/ 515 w 847"/>
                      <a:gd name="T81" fmla="*/ 88 h 651"/>
                      <a:gd name="T82" fmla="*/ 518 w 847"/>
                      <a:gd name="T83" fmla="*/ 102 h 651"/>
                      <a:gd name="T84" fmla="*/ 518 w 847"/>
                      <a:gd name="T85" fmla="*/ 123 h 651"/>
                      <a:gd name="T86" fmla="*/ 523 w 847"/>
                      <a:gd name="T87" fmla="*/ 147 h 651"/>
                      <a:gd name="T88" fmla="*/ 530 w 847"/>
                      <a:gd name="T89" fmla="*/ 175 h 651"/>
                      <a:gd name="T90" fmla="*/ 553 w 847"/>
                      <a:gd name="T91" fmla="*/ 201 h 651"/>
                      <a:gd name="T92" fmla="*/ 582 w 847"/>
                      <a:gd name="T93" fmla="*/ 220 h 651"/>
                      <a:gd name="T94" fmla="*/ 598 w 847"/>
                      <a:gd name="T95" fmla="*/ 230 h 651"/>
                      <a:gd name="T96" fmla="*/ 584 w 847"/>
                      <a:gd name="T97" fmla="*/ 246 h 651"/>
                      <a:gd name="T98" fmla="*/ 575 w 847"/>
                      <a:gd name="T99" fmla="*/ 256 h 651"/>
                      <a:gd name="T100" fmla="*/ 534 w 847"/>
                      <a:gd name="T101" fmla="*/ 253 h 651"/>
                      <a:gd name="T102" fmla="*/ 499 w 847"/>
                      <a:gd name="T103" fmla="*/ 284 h 651"/>
                      <a:gd name="T104" fmla="*/ 527 w 847"/>
                      <a:gd name="T105" fmla="*/ 315 h 651"/>
                      <a:gd name="T106" fmla="*/ 620 w 847"/>
                      <a:gd name="T107" fmla="*/ 346 h 651"/>
                      <a:gd name="T108" fmla="*/ 622 w 847"/>
                      <a:gd name="T109" fmla="*/ 379 h 651"/>
                      <a:gd name="T110" fmla="*/ 674 w 847"/>
                      <a:gd name="T111" fmla="*/ 391 h 651"/>
                      <a:gd name="T112" fmla="*/ 695 w 847"/>
                      <a:gd name="T113" fmla="*/ 395 h 651"/>
                      <a:gd name="T114" fmla="*/ 743 w 847"/>
                      <a:gd name="T115" fmla="*/ 381 h 651"/>
                      <a:gd name="T116" fmla="*/ 764 w 847"/>
                      <a:gd name="T117" fmla="*/ 391 h 651"/>
                      <a:gd name="T118" fmla="*/ 823 w 847"/>
                      <a:gd name="T119" fmla="*/ 417 h 651"/>
                      <a:gd name="T120" fmla="*/ 840 w 847"/>
                      <a:gd name="T121" fmla="*/ 457 h 651"/>
                      <a:gd name="T122" fmla="*/ 336 w 847"/>
                      <a:gd name="T123" fmla="*/ 395 h 6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847" h="651">
                        <a:moveTo>
                          <a:pt x="844" y="471"/>
                        </a:moveTo>
                        <a:lnTo>
                          <a:pt x="844" y="471"/>
                        </a:lnTo>
                        <a:lnTo>
                          <a:pt x="847" y="473"/>
                        </a:lnTo>
                        <a:lnTo>
                          <a:pt x="847" y="476"/>
                        </a:lnTo>
                        <a:lnTo>
                          <a:pt x="844" y="478"/>
                        </a:lnTo>
                        <a:lnTo>
                          <a:pt x="840" y="485"/>
                        </a:lnTo>
                        <a:lnTo>
                          <a:pt x="837" y="485"/>
                        </a:lnTo>
                        <a:lnTo>
                          <a:pt x="840" y="488"/>
                        </a:lnTo>
                        <a:lnTo>
                          <a:pt x="840" y="488"/>
                        </a:lnTo>
                        <a:lnTo>
                          <a:pt x="840" y="490"/>
                        </a:lnTo>
                        <a:lnTo>
                          <a:pt x="840" y="492"/>
                        </a:lnTo>
                        <a:lnTo>
                          <a:pt x="835" y="499"/>
                        </a:lnTo>
                        <a:lnTo>
                          <a:pt x="832" y="499"/>
                        </a:lnTo>
                        <a:lnTo>
                          <a:pt x="830" y="502"/>
                        </a:lnTo>
                        <a:lnTo>
                          <a:pt x="828" y="504"/>
                        </a:lnTo>
                        <a:lnTo>
                          <a:pt x="821" y="514"/>
                        </a:lnTo>
                        <a:lnTo>
                          <a:pt x="821" y="514"/>
                        </a:lnTo>
                        <a:lnTo>
                          <a:pt x="816" y="518"/>
                        </a:lnTo>
                        <a:lnTo>
                          <a:pt x="816" y="518"/>
                        </a:lnTo>
                        <a:lnTo>
                          <a:pt x="809" y="523"/>
                        </a:lnTo>
                        <a:lnTo>
                          <a:pt x="806" y="523"/>
                        </a:lnTo>
                        <a:lnTo>
                          <a:pt x="806" y="526"/>
                        </a:lnTo>
                        <a:lnTo>
                          <a:pt x="806" y="528"/>
                        </a:lnTo>
                        <a:lnTo>
                          <a:pt x="811" y="535"/>
                        </a:lnTo>
                        <a:lnTo>
                          <a:pt x="814" y="537"/>
                        </a:lnTo>
                        <a:lnTo>
                          <a:pt x="814" y="540"/>
                        </a:lnTo>
                        <a:lnTo>
                          <a:pt x="814" y="542"/>
                        </a:lnTo>
                        <a:lnTo>
                          <a:pt x="814" y="552"/>
                        </a:lnTo>
                        <a:lnTo>
                          <a:pt x="816" y="561"/>
                        </a:lnTo>
                        <a:lnTo>
                          <a:pt x="816" y="568"/>
                        </a:lnTo>
                        <a:lnTo>
                          <a:pt x="816" y="573"/>
                        </a:lnTo>
                        <a:lnTo>
                          <a:pt x="816" y="575"/>
                        </a:lnTo>
                        <a:lnTo>
                          <a:pt x="816" y="575"/>
                        </a:lnTo>
                        <a:lnTo>
                          <a:pt x="816" y="578"/>
                        </a:lnTo>
                        <a:lnTo>
                          <a:pt x="816" y="580"/>
                        </a:lnTo>
                        <a:lnTo>
                          <a:pt x="814" y="580"/>
                        </a:lnTo>
                        <a:lnTo>
                          <a:pt x="811" y="582"/>
                        </a:lnTo>
                        <a:lnTo>
                          <a:pt x="809" y="585"/>
                        </a:lnTo>
                        <a:lnTo>
                          <a:pt x="806" y="585"/>
                        </a:lnTo>
                        <a:lnTo>
                          <a:pt x="804" y="587"/>
                        </a:lnTo>
                        <a:lnTo>
                          <a:pt x="804" y="589"/>
                        </a:lnTo>
                        <a:lnTo>
                          <a:pt x="802" y="592"/>
                        </a:lnTo>
                        <a:lnTo>
                          <a:pt x="802" y="594"/>
                        </a:lnTo>
                        <a:lnTo>
                          <a:pt x="802" y="596"/>
                        </a:lnTo>
                        <a:lnTo>
                          <a:pt x="802" y="599"/>
                        </a:lnTo>
                        <a:lnTo>
                          <a:pt x="802" y="599"/>
                        </a:lnTo>
                        <a:lnTo>
                          <a:pt x="790" y="604"/>
                        </a:lnTo>
                        <a:lnTo>
                          <a:pt x="788" y="606"/>
                        </a:lnTo>
                        <a:lnTo>
                          <a:pt x="783" y="611"/>
                        </a:lnTo>
                        <a:lnTo>
                          <a:pt x="776" y="604"/>
                        </a:lnTo>
                        <a:lnTo>
                          <a:pt x="771" y="604"/>
                        </a:lnTo>
                        <a:lnTo>
                          <a:pt x="762" y="608"/>
                        </a:lnTo>
                        <a:lnTo>
                          <a:pt x="757" y="608"/>
                        </a:lnTo>
                        <a:lnTo>
                          <a:pt x="754" y="606"/>
                        </a:lnTo>
                        <a:lnTo>
                          <a:pt x="735" y="611"/>
                        </a:lnTo>
                        <a:lnTo>
                          <a:pt x="726" y="620"/>
                        </a:lnTo>
                        <a:lnTo>
                          <a:pt x="733" y="632"/>
                        </a:lnTo>
                        <a:lnTo>
                          <a:pt x="721" y="634"/>
                        </a:lnTo>
                        <a:lnTo>
                          <a:pt x="719" y="634"/>
                        </a:lnTo>
                        <a:lnTo>
                          <a:pt x="717" y="630"/>
                        </a:lnTo>
                        <a:lnTo>
                          <a:pt x="714" y="627"/>
                        </a:lnTo>
                        <a:lnTo>
                          <a:pt x="712" y="625"/>
                        </a:lnTo>
                        <a:lnTo>
                          <a:pt x="709" y="630"/>
                        </a:lnTo>
                        <a:lnTo>
                          <a:pt x="707" y="630"/>
                        </a:lnTo>
                        <a:lnTo>
                          <a:pt x="700" y="623"/>
                        </a:lnTo>
                        <a:lnTo>
                          <a:pt x="648" y="608"/>
                        </a:lnTo>
                        <a:lnTo>
                          <a:pt x="636" y="611"/>
                        </a:lnTo>
                        <a:lnTo>
                          <a:pt x="612" y="618"/>
                        </a:lnTo>
                        <a:lnTo>
                          <a:pt x="605" y="623"/>
                        </a:lnTo>
                        <a:lnTo>
                          <a:pt x="596" y="632"/>
                        </a:lnTo>
                        <a:lnTo>
                          <a:pt x="584" y="637"/>
                        </a:lnTo>
                        <a:lnTo>
                          <a:pt x="579" y="649"/>
                        </a:lnTo>
                        <a:lnTo>
                          <a:pt x="572" y="651"/>
                        </a:lnTo>
                        <a:lnTo>
                          <a:pt x="565" y="651"/>
                        </a:lnTo>
                        <a:lnTo>
                          <a:pt x="560" y="646"/>
                        </a:lnTo>
                        <a:lnTo>
                          <a:pt x="560" y="639"/>
                        </a:lnTo>
                        <a:lnTo>
                          <a:pt x="556" y="632"/>
                        </a:lnTo>
                        <a:lnTo>
                          <a:pt x="551" y="627"/>
                        </a:lnTo>
                        <a:lnTo>
                          <a:pt x="544" y="615"/>
                        </a:lnTo>
                        <a:lnTo>
                          <a:pt x="537" y="611"/>
                        </a:lnTo>
                        <a:lnTo>
                          <a:pt x="518" y="592"/>
                        </a:lnTo>
                        <a:lnTo>
                          <a:pt x="506" y="587"/>
                        </a:lnTo>
                        <a:lnTo>
                          <a:pt x="497" y="582"/>
                        </a:lnTo>
                        <a:lnTo>
                          <a:pt x="489" y="580"/>
                        </a:lnTo>
                        <a:lnTo>
                          <a:pt x="463" y="582"/>
                        </a:lnTo>
                        <a:lnTo>
                          <a:pt x="461" y="582"/>
                        </a:lnTo>
                        <a:lnTo>
                          <a:pt x="435" y="573"/>
                        </a:lnTo>
                        <a:lnTo>
                          <a:pt x="428" y="570"/>
                        </a:lnTo>
                        <a:lnTo>
                          <a:pt x="426" y="573"/>
                        </a:lnTo>
                        <a:lnTo>
                          <a:pt x="423" y="578"/>
                        </a:lnTo>
                        <a:lnTo>
                          <a:pt x="418" y="575"/>
                        </a:lnTo>
                        <a:lnTo>
                          <a:pt x="390" y="542"/>
                        </a:lnTo>
                        <a:lnTo>
                          <a:pt x="352" y="511"/>
                        </a:lnTo>
                        <a:lnTo>
                          <a:pt x="317" y="485"/>
                        </a:lnTo>
                        <a:lnTo>
                          <a:pt x="310" y="483"/>
                        </a:lnTo>
                        <a:lnTo>
                          <a:pt x="303" y="481"/>
                        </a:lnTo>
                        <a:lnTo>
                          <a:pt x="298" y="478"/>
                        </a:lnTo>
                        <a:lnTo>
                          <a:pt x="293" y="478"/>
                        </a:lnTo>
                        <a:lnTo>
                          <a:pt x="284" y="476"/>
                        </a:lnTo>
                        <a:lnTo>
                          <a:pt x="281" y="476"/>
                        </a:lnTo>
                        <a:lnTo>
                          <a:pt x="276" y="471"/>
                        </a:lnTo>
                        <a:lnTo>
                          <a:pt x="272" y="464"/>
                        </a:lnTo>
                        <a:lnTo>
                          <a:pt x="269" y="457"/>
                        </a:lnTo>
                        <a:lnTo>
                          <a:pt x="269" y="447"/>
                        </a:lnTo>
                        <a:lnTo>
                          <a:pt x="267" y="440"/>
                        </a:lnTo>
                        <a:lnTo>
                          <a:pt x="262" y="431"/>
                        </a:lnTo>
                        <a:lnTo>
                          <a:pt x="253" y="419"/>
                        </a:lnTo>
                        <a:lnTo>
                          <a:pt x="243" y="410"/>
                        </a:lnTo>
                        <a:lnTo>
                          <a:pt x="210" y="391"/>
                        </a:lnTo>
                        <a:lnTo>
                          <a:pt x="206" y="388"/>
                        </a:lnTo>
                        <a:lnTo>
                          <a:pt x="203" y="386"/>
                        </a:lnTo>
                        <a:lnTo>
                          <a:pt x="201" y="381"/>
                        </a:lnTo>
                        <a:lnTo>
                          <a:pt x="198" y="379"/>
                        </a:lnTo>
                        <a:lnTo>
                          <a:pt x="189" y="379"/>
                        </a:lnTo>
                        <a:lnTo>
                          <a:pt x="187" y="376"/>
                        </a:lnTo>
                        <a:lnTo>
                          <a:pt x="182" y="372"/>
                        </a:lnTo>
                        <a:lnTo>
                          <a:pt x="175" y="369"/>
                        </a:lnTo>
                        <a:lnTo>
                          <a:pt x="170" y="367"/>
                        </a:lnTo>
                        <a:lnTo>
                          <a:pt x="163" y="365"/>
                        </a:lnTo>
                        <a:lnTo>
                          <a:pt x="139" y="369"/>
                        </a:lnTo>
                        <a:lnTo>
                          <a:pt x="137" y="369"/>
                        </a:lnTo>
                        <a:lnTo>
                          <a:pt x="135" y="365"/>
                        </a:lnTo>
                        <a:lnTo>
                          <a:pt x="127" y="358"/>
                        </a:lnTo>
                        <a:lnTo>
                          <a:pt x="123" y="350"/>
                        </a:lnTo>
                        <a:lnTo>
                          <a:pt x="118" y="348"/>
                        </a:lnTo>
                        <a:lnTo>
                          <a:pt x="116" y="341"/>
                        </a:lnTo>
                        <a:lnTo>
                          <a:pt x="106" y="334"/>
                        </a:lnTo>
                        <a:lnTo>
                          <a:pt x="104" y="329"/>
                        </a:lnTo>
                        <a:lnTo>
                          <a:pt x="104" y="324"/>
                        </a:lnTo>
                        <a:lnTo>
                          <a:pt x="99" y="317"/>
                        </a:lnTo>
                        <a:lnTo>
                          <a:pt x="78" y="284"/>
                        </a:lnTo>
                        <a:lnTo>
                          <a:pt x="68" y="275"/>
                        </a:lnTo>
                        <a:lnTo>
                          <a:pt x="28" y="249"/>
                        </a:lnTo>
                        <a:lnTo>
                          <a:pt x="12" y="249"/>
                        </a:lnTo>
                        <a:lnTo>
                          <a:pt x="0" y="244"/>
                        </a:lnTo>
                        <a:lnTo>
                          <a:pt x="4" y="223"/>
                        </a:lnTo>
                        <a:lnTo>
                          <a:pt x="4" y="223"/>
                        </a:lnTo>
                        <a:lnTo>
                          <a:pt x="4" y="220"/>
                        </a:lnTo>
                        <a:lnTo>
                          <a:pt x="7" y="218"/>
                        </a:lnTo>
                        <a:lnTo>
                          <a:pt x="9" y="216"/>
                        </a:lnTo>
                        <a:lnTo>
                          <a:pt x="12" y="216"/>
                        </a:lnTo>
                        <a:lnTo>
                          <a:pt x="38" y="208"/>
                        </a:lnTo>
                        <a:lnTo>
                          <a:pt x="40" y="208"/>
                        </a:lnTo>
                        <a:lnTo>
                          <a:pt x="40" y="206"/>
                        </a:lnTo>
                        <a:lnTo>
                          <a:pt x="42" y="206"/>
                        </a:lnTo>
                        <a:lnTo>
                          <a:pt x="42" y="204"/>
                        </a:lnTo>
                        <a:lnTo>
                          <a:pt x="42" y="199"/>
                        </a:lnTo>
                        <a:lnTo>
                          <a:pt x="42" y="194"/>
                        </a:lnTo>
                        <a:lnTo>
                          <a:pt x="42" y="190"/>
                        </a:lnTo>
                        <a:lnTo>
                          <a:pt x="42" y="187"/>
                        </a:lnTo>
                        <a:lnTo>
                          <a:pt x="40" y="187"/>
                        </a:lnTo>
                        <a:lnTo>
                          <a:pt x="38" y="185"/>
                        </a:lnTo>
                        <a:lnTo>
                          <a:pt x="28" y="180"/>
                        </a:lnTo>
                        <a:lnTo>
                          <a:pt x="28" y="180"/>
                        </a:lnTo>
                        <a:lnTo>
                          <a:pt x="28" y="178"/>
                        </a:lnTo>
                        <a:lnTo>
                          <a:pt x="28" y="175"/>
                        </a:lnTo>
                        <a:lnTo>
                          <a:pt x="28" y="173"/>
                        </a:lnTo>
                        <a:lnTo>
                          <a:pt x="33" y="168"/>
                        </a:lnTo>
                        <a:lnTo>
                          <a:pt x="33" y="166"/>
                        </a:lnTo>
                        <a:lnTo>
                          <a:pt x="33" y="164"/>
                        </a:lnTo>
                        <a:lnTo>
                          <a:pt x="30" y="161"/>
                        </a:lnTo>
                        <a:lnTo>
                          <a:pt x="30" y="161"/>
                        </a:lnTo>
                        <a:lnTo>
                          <a:pt x="30" y="159"/>
                        </a:lnTo>
                        <a:lnTo>
                          <a:pt x="30" y="156"/>
                        </a:lnTo>
                        <a:lnTo>
                          <a:pt x="30" y="156"/>
                        </a:lnTo>
                        <a:lnTo>
                          <a:pt x="33" y="154"/>
                        </a:lnTo>
                        <a:lnTo>
                          <a:pt x="35" y="154"/>
                        </a:lnTo>
                        <a:lnTo>
                          <a:pt x="35" y="154"/>
                        </a:lnTo>
                        <a:lnTo>
                          <a:pt x="40" y="156"/>
                        </a:lnTo>
                        <a:lnTo>
                          <a:pt x="40" y="156"/>
                        </a:lnTo>
                        <a:lnTo>
                          <a:pt x="42" y="156"/>
                        </a:lnTo>
                        <a:lnTo>
                          <a:pt x="56" y="147"/>
                        </a:lnTo>
                        <a:lnTo>
                          <a:pt x="56" y="147"/>
                        </a:lnTo>
                        <a:lnTo>
                          <a:pt x="59" y="145"/>
                        </a:lnTo>
                        <a:lnTo>
                          <a:pt x="59" y="145"/>
                        </a:lnTo>
                        <a:lnTo>
                          <a:pt x="61" y="138"/>
                        </a:lnTo>
                        <a:lnTo>
                          <a:pt x="64" y="135"/>
                        </a:lnTo>
                        <a:lnTo>
                          <a:pt x="64" y="135"/>
                        </a:lnTo>
                        <a:lnTo>
                          <a:pt x="68" y="133"/>
                        </a:lnTo>
                        <a:lnTo>
                          <a:pt x="71" y="130"/>
                        </a:lnTo>
                        <a:lnTo>
                          <a:pt x="73" y="128"/>
                        </a:lnTo>
                        <a:lnTo>
                          <a:pt x="73" y="126"/>
                        </a:lnTo>
                        <a:lnTo>
                          <a:pt x="75" y="126"/>
                        </a:lnTo>
                        <a:lnTo>
                          <a:pt x="75" y="119"/>
                        </a:lnTo>
                        <a:lnTo>
                          <a:pt x="78" y="116"/>
                        </a:lnTo>
                        <a:lnTo>
                          <a:pt x="78" y="116"/>
                        </a:lnTo>
                        <a:lnTo>
                          <a:pt x="78" y="116"/>
                        </a:lnTo>
                        <a:lnTo>
                          <a:pt x="78" y="114"/>
                        </a:lnTo>
                        <a:lnTo>
                          <a:pt x="80" y="114"/>
                        </a:lnTo>
                        <a:lnTo>
                          <a:pt x="85" y="111"/>
                        </a:lnTo>
                        <a:lnTo>
                          <a:pt x="85" y="111"/>
                        </a:lnTo>
                        <a:lnTo>
                          <a:pt x="87" y="111"/>
                        </a:lnTo>
                        <a:lnTo>
                          <a:pt x="87" y="107"/>
                        </a:lnTo>
                        <a:lnTo>
                          <a:pt x="87" y="102"/>
                        </a:lnTo>
                        <a:lnTo>
                          <a:pt x="85" y="90"/>
                        </a:lnTo>
                        <a:lnTo>
                          <a:pt x="85" y="85"/>
                        </a:lnTo>
                        <a:lnTo>
                          <a:pt x="85" y="83"/>
                        </a:lnTo>
                        <a:lnTo>
                          <a:pt x="85" y="81"/>
                        </a:lnTo>
                        <a:lnTo>
                          <a:pt x="87" y="81"/>
                        </a:lnTo>
                        <a:lnTo>
                          <a:pt x="87" y="78"/>
                        </a:lnTo>
                        <a:lnTo>
                          <a:pt x="87" y="76"/>
                        </a:lnTo>
                        <a:lnTo>
                          <a:pt x="87" y="74"/>
                        </a:lnTo>
                        <a:lnTo>
                          <a:pt x="87" y="71"/>
                        </a:lnTo>
                        <a:lnTo>
                          <a:pt x="87" y="69"/>
                        </a:lnTo>
                        <a:lnTo>
                          <a:pt x="85" y="69"/>
                        </a:lnTo>
                        <a:lnTo>
                          <a:pt x="82" y="67"/>
                        </a:lnTo>
                        <a:lnTo>
                          <a:pt x="80" y="64"/>
                        </a:lnTo>
                        <a:lnTo>
                          <a:pt x="78" y="59"/>
                        </a:lnTo>
                        <a:lnTo>
                          <a:pt x="78" y="59"/>
                        </a:lnTo>
                        <a:lnTo>
                          <a:pt x="75" y="57"/>
                        </a:lnTo>
                        <a:lnTo>
                          <a:pt x="66" y="50"/>
                        </a:lnTo>
                        <a:lnTo>
                          <a:pt x="66" y="48"/>
                        </a:lnTo>
                        <a:lnTo>
                          <a:pt x="68" y="45"/>
                        </a:lnTo>
                        <a:lnTo>
                          <a:pt x="71" y="41"/>
                        </a:lnTo>
                        <a:lnTo>
                          <a:pt x="71" y="41"/>
                        </a:lnTo>
                        <a:lnTo>
                          <a:pt x="73" y="41"/>
                        </a:lnTo>
                        <a:lnTo>
                          <a:pt x="75" y="41"/>
                        </a:lnTo>
                        <a:lnTo>
                          <a:pt x="78" y="41"/>
                        </a:lnTo>
                        <a:lnTo>
                          <a:pt x="80" y="43"/>
                        </a:lnTo>
                        <a:lnTo>
                          <a:pt x="82" y="43"/>
                        </a:lnTo>
                        <a:lnTo>
                          <a:pt x="85" y="41"/>
                        </a:lnTo>
                        <a:lnTo>
                          <a:pt x="90" y="33"/>
                        </a:lnTo>
                        <a:lnTo>
                          <a:pt x="92" y="31"/>
                        </a:lnTo>
                        <a:lnTo>
                          <a:pt x="106" y="22"/>
                        </a:lnTo>
                        <a:lnTo>
                          <a:pt x="123" y="45"/>
                        </a:lnTo>
                        <a:lnTo>
                          <a:pt x="130" y="50"/>
                        </a:lnTo>
                        <a:lnTo>
                          <a:pt x="132" y="52"/>
                        </a:lnTo>
                        <a:lnTo>
                          <a:pt x="137" y="55"/>
                        </a:lnTo>
                        <a:lnTo>
                          <a:pt x="137" y="57"/>
                        </a:lnTo>
                        <a:lnTo>
                          <a:pt x="139" y="57"/>
                        </a:lnTo>
                        <a:lnTo>
                          <a:pt x="137" y="59"/>
                        </a:lnTo>
                        <a:lnTo>
                          <a:pt x="137" y="62"/>
                        </a:lnTo>
                        <a:lnTo>
                          <a:pt x="137" y="62"/>
                        </a:lnTo>
                        <a:lnTo>
                          <a:pt x="137" y="64"/>
                        </a:lnTo>
                        <a:lnTo>
                          <a:pt x="137" y="64"/>
                        </a:lnTo>
                        <a:lnTo>
                          <a:pt x="135" y="67"/>
                        </a:lnTo>
                        <a:lnTo>
                          <a:pt x="130" y="69"/>
                        </a:lnTo>
                        <a:lnTo>
                          <a:pt x="130" y="71"/>
                        </a:lnTo>
                        <a:lnTo>
                          <a:pt x="127" y="74"/>
                        </a:lnTo>
                        <a:lnTo>
                          <a:pt x="127" y="74"/>
                        </a:lnTo>
                        <a:lnTo>
                          <a:pt x="127" y="76"/>
                        </a:lnTo>
                        <a:lnTo>
                          <a:pt x="127" y="78"/>
                        </a:lnTo>
                        <a:lnTo>
                          <a:pt x="127" y="81"/>
                        </a:lnTo>
                        <a:lnTo>
                          <a:pt x="135" y="85"/>
                        </a:lnTo>
                        <a:lnTo>
                          <a:pt x="137" y="88"/>
                        </a:lnTo>
                        <a:lnTo>
                          <a:pt x="139" y="88"/>
                        </a:lnTo>
                        <a:lnTo>
                          <a:pt x="146" y="93"/>
                        </a:lnTo>
                        <a:lnTo>
                          <a:pt x="151" y="95"/>
                        </a:lnTo>
                        <a:lnTo>
                          <a:pt x="158" y="102"/>
                        </a:lnTo>
                        <a:lnTo>
                          <a:pt x="161" y="102"/>
                        </a:lnTo>
                        <a:lnTo>
                          <a:pt x="163" y="102"/>
                        </a:lnTo>
                        <a:lnTo>
                          <a:pt x="163" y="102"/>
                        </a:lnTo>
                        <a:lnTo>
                          <a:pt x="172" y="97"/>
                        </a:lnTo>
                        <a:lnTo>
                          <a:pt x="182" y="93"/>
                        </a:lnTo>
                        <a:lnTo>
                          <a:pt x="182" y="93"/>
                        </a:lnTo>
                        <a:lnTo>
                          <a:pt x="189" y="93"/>
                        </a:lnTo>
                        <a:lnTo>
                          <a:pt x="191" y="93"/>
                        </a:lnTo>
                        <a:lnTo>
                          <a:pt x="191" y="93"/>
                        </a:lnTo>
                        <a:lnTo>
                          <a:pt x="194" y="93"/>
                        </a:lnTo>
                        <a:lnTo>
                          <a:pt x="194" y="90"/>
                        </a:lnTo>
                        <a:lnTo>
                          <a:pt x="194" y="90"/>
                        </a:lnTo>
                        <a:lnTo>
                          <a:pt x="196" y="85"/>
                        </a:lnTo>
                        <a:lnTo>
                          <a:pt x="196" y="85"/>
                        </a:lnTo>
                        <a:lnTo>
                          <a:pt x="198" y="83"/>
                        </a:lnTo>
                        <a:lnTo>
                          <a:pt x="198" y="83"/>
                        </a:lnTo>
                        <a:lnTo>
                          <a:pt x="215" y="90"/>
                        </a:lnTo>
                        <a:lnTo>
                          <a:pt x="220" y="90"/>
                        </a:lnTo>
                        <a:lnTo>
                          <a:pt x="220" y="90"/>
                        </a:lnTo>
                        <a:lnTo>
                          <a:pt x="224" y="93"/>
                        </a:lnTo>
                        <a:lnTo>
                          <a:pt x="227" y="95"/>
                        </a:lnTo>
                        <a:lnTo>
                          <a:pt x="229" y="102"/>
                        </a:lnTo>
                        <a:lnTo>
                          <a:pt x="232" y="111"/>
                        </a:lnTo>
                        <a:lnTo>
                          <a:pt x="232" y="119"/>
                        </a:lnTo>
                        <a:lnTo>
                          <a:pt x="236" y="126"/>
                        </a:lnTo>
                        <a:lnTo>
                          <a:pt x="239" y="126"/>
                        </a:lnTo>
                        <a:lnTo>
                          <a:pt x="241" y="126"/>
                        </a:lnTo>
                        <a:lnTo>
                          <a:pt x="241" y="123"/>
                        </a:lnTo>
                        <a:lnTo>
                          <a:pt x="241" y="126"/>
                        </a:lnTo>
                        <a:lnTo>
                          <a:pt x="243" y="133"/>
                        </a:lnTo>
                        <a:lnTo>
                          <a:pt x="243" y="138"/>
                        </a:lnTo>
                        <a:lnTo>
                          <a:pt x="246" y="145"/>
                        </a:lnTo>
                        <a:lnTo>
                          <a:pt x="248" y="147"/>
                        </a:lnTo>
                        <a:lnTo>
                          <a:pt x="248" y="149"/>
                        </a:lnTo>
                        <a:lnTo>
                          <a:pt x="253" y="152"/>
                        </a:lnTo>
                        <a:lnTo>
                          <a:pt x="255" y="156"/>
                        </a:lnTo>
                        <a:lnTo>
                          <a:pt x="260" y="152"/>
                        </a:lnTo>
                        <a:lnTo>
                          <a:pt x="267" y="152"/>
                        </a:lnTo>
                        <a:lnTo>
                          <a:pt x="286" y="164"/>
                        </a:lnTo>
                        <a:lnTo>
                          <a:pt x="293" y="171"/>
                        </a:lnTo>
                        <a:lnTo>
                          <a:pt x="293" y="171"/>
                        </a:lnTo>
                        <a:lnTo>
                          <a:pt x="295" y="175"/>
                        </a:lnTo>
                        <a:lnTo>
                          <a:pt x="295" y="175"/>
                        </a:lnTo>
                        <a:lnTo>
                          <a:pt x="295" y="175"/>
                        </a:lnTo>
                        <a:lnTo>
                          <a:pt x="298" y="175"/>
                        </a:lnTo>
                        <a:lnTo>
                          <a:pt x="298" y="175"/>
                        </a:lnTo>
                        <a:lnTo>
                          <a:pt x="300" y="175"/>
                        </a:lnTo>
                        <a:lnTo>
                          <a:pt x="305" y="175"/>
                        </a:lnTo>
                        <a:lnTo>
                          <a:pt x="305" y="178"/>
                        </a:lnTo>
                        <a:lnTo>
                          <a:pt x="305" y="180"/>
                        </a:lnTo>
                        <a:lnTo>
                          <a:pt x="305" y="182"/>
                        </a:lnTo>
                        <a:lnTo>
                          <a:pt x="303" y="185"/>
                        </a:lnTo>
                        <a:lnTo>
                          <a:pt x="300" y="190"/>
                        </a:lnTo>
                        <a:lnTo>
                          <a:pt x="303" y="192"/>
                        </a:lnTo>
                        <a:lnTo>
                          <a:pt x="307" y="192"/>
                        </a:lnTo>
                        <a:lnTo>
                          <a:pt x="310" y="190"/>
                        </a:lnTo>
                        <a:lnTo>
                          <a:pt x="312" y="192"/>
                        </a:lnTo>
                        <a:lnTo>
                          <a:pt x="324" y="187"/>
                        </a:lnTo>
                        <a:lnTo>
                          <a:pt x="326" y="187"/>
                        </a:lnTo>
                        <a:lnTo>
                          <a:pt x="329" y="187"/>
                        </a:lnTo>
                        <a:lnTo>
                          <a:pt x="331" y="192"/>
                        </a:lnTo>
                        <a:lnTo>
                          <a:pt x="333" y="194"/>
                        </a:lnTo>
                        <a:lnTo>
                          <a:pt x="333" y="194"/>
                        </a:lnTo>
                        <a:lnTo>
                          <a:pt x="336" y="194"/>
                        </a:lnTo>
                        <a:lnTo>
                          <a:pt x="338" y="190"/>
                        </a:lnTo>
                        <a:lnTo>
                          <a:pt x="345" y="185"/>
                        </a:lnTo>
                        <a:lnTo>
                          <a:pt x="350" y="180"/>
                        </a:lnTo>
                        <a:lnTo>
                          <a:pt x="350" y="178"/>
                        </a:lnTo>
                        <a:lnTo>
                          <a:pt x="352" y="173"/>
                        </a:lnTo>
                        <a:lnTo>
                          <a:pt x="355" y="168"/>
                        </a:lnTo>
                        <a:lnTo>
                          <a:pt x="355" y="164"/>
                        </a:lnTo>
                        <a:lnTo>
                          <a:pt x="355" y="161"/>
                        </a:lnTo>
                        <a:lnTo>
                          <a:pt x="355" y="161"/>
                        </a:lnTo>
                        <a:lnTo>
                          <a:pt x="352" y="159"/>
                        </a:lnTo>
                        <a:lnTo>
                          <a:pt x="352" y="159"/>
                        </a:lnTo>
                        <a:lnTo>
                          <a:pt x="352" y="156"/>
                        </a:lnTo>
                        <a:lnTo>
                          <a:pt x="352" y="154"/>
                        </a:lnTo>
                        <a:lnTo>
                          <a:pt x="352" y="152"/>
                        </a:lnTo>
                        <a:lnTo>
                          <a:pt x="355" y="149"/>
                        </a:lnTo>
                        <a:lnTo>
                          <a:pt x="355" y="149"/>
                        </a:lnTo>
                        <a:lnTo>
                          <a:pt x="357" y="149"/>
                        </a:lnTo>
                        <a:lnTo>
                          <a:pt x="357" y="152"/>
                        </a:lnTo>
                        <a:lnTo>
                          <a:pt x="364" y="156"/>
                        </a:lnTo>
                        <a:lnTo>
                          <a:pt x="366" y="159"/>
                        </a:lnTo>
                        <a:lnTo>
                          <a:pt x="371" y="156"/>
                        </a:lnTo>
                        <a:lnTo>
                          <a:pt x="381" y="154"/>
                        </a:lnTo>
                        <a:lnTo>
                          <a:pt x="385" y="152"/>
                        </a:lnTo>
                        <a:lnTo>
                          <a:pt x="388" y="149"/>
                        </a:lnTo>
                        <a:lnTo>
                          <a:pt x="388" y="149"/>
                        </a:lnTo>
                        <a:lnTo>
                          <a:pt x="388" y="147"/>
                        </a:lnTo>
                        <a:lnTo>
                          <a:pt x="388" y="147"/>
                        </a:lnTo>
                        <a:lnTo>
                          <a:pt x="388" y="145"/>
                        </a:lnTo>
                        <a:lnTo>
                          <a:pt x="388" y="142"/>
                        </a:lnTo>
                        <a:lnTo>
                          <a:pt x="383" y="138"/>
                        </a:lnTo>
                        <a:lnTo>
                          <a:pt x="383" y="138"/>
                        </a:lnTo>
                        <a:lnTo>
                          <a:pt x="383" y="135"/>
                        </a:lnTo>
                        <a:lnTo>
                          <a:pt x="383" y="133"/>
                        </a:lnTo>
                        <a:lnTo>
                          <a:pt x="383" y="133"/>
                        </a:lnTo>
                        <a:lnTo>
                          <a:pt x="395" y="128"/>
                        </a:lnTo>
                        <a:lnTo>
                          <a:pt x="395" y="128"/>
                        </a:lnTo>
                        <a:lnTo>
                          <a:pt x="395" y="128"/>
                        </a:lnTo>
                        <a:lnTo>
                          <a:pt x="397" y="126"/>
                        </a:lnTo>
                        <a:lnTo>
                          <a:pt x="397" y="126"/>
                        </a:lnTo>
                        <a:lnTo>
                          <a:pt x="400" y="119"/>
                        </a:lnTo>
                        <a:lnTo>
                          <a:pt x="400" y="116"/>
                        </a:lnTo>
                        <a:lnTo>
                          <a:pt x="426" y="97"/>
                        </a:lnTo>
                        <a:lnTo>
                          <a:pt x="428" y="95"/>
                        </a:lnTo>
                        <a:lnTo>
                          <a:pt x="428" y="95"/>
                        </a:lnTo>
                        <a:lnTo>
                          <a:pt x="428" y="93"/>
                        </a:lnTo>
                        <a:lnTo>
                          <a:pt x="428" y="90"/>
                        </a:lnTo>
                        <a:lnTo>
                          <a:pt x="428" y="90"/>
                        </a:lnTo>
                        <a:lnTo>
                          <a:pt x="426" y="88"/>
                        </a:lnTo>
                        <a:lnTo>
                          <a:pt x="426" y="85"/>
                        </a:lnTo>
                        <a:lnTo>
                          <a:pt x="433" y="76"/>
                        </a:lnTo>
                        <a:lnTo>
                          <a:pt x="459" y="71"/>
                        </a:lnTo>
                        <a:lnTo>
                          <a:pt x="461" y="71"/>
                        </a:lnTo>
                        <a:lnTo>
                          <a:pt x="463" y="71"/>
                        </a:lnTo>
                        <a:lnTo>
                          <a:pt x="463" y="69"/>
                        </a:lnTo>
                        <a:lnTo>
                          <a:pt x="463" y="69"/>
                        </a:lnTo>
                        <a:lnTo>
                          <a:pt x="463" y="64"/>
                        </a:lnTo>
                        <a:lnTo>
                          <a:pt x="466" y="62"/>
                        </a:lnTo>
                        <a:lnTo>
                          <a:pt x="466" y="59"/>
                        </a:lnTo>
                        <a:lnTo>
                          <a:pt x="468" y="59"/>
                        </a:lnTo>
                        <a:lnTo>
                          <a:pt x="468" y="59"/>
                        </a:lnTo>
                        <a:lnTo>
                          <a:pt x="473" y="62"/>
                        </a:lnTo>
                        <a:lnTo>
                          <a:pt x="473" y="62"/>
                        </a:lnTo>
                        <a:lnTo>
                          <a:pt x="478" y="62"/>
                        </a:lnTo>
                        <a:lnTo>
                          <a:pt x="480" y="62"/>
                        </a:lnTo>
                        <a:lnTo>
                          <a:pt x="489" y="57"/>
                        </a:lnTo>
                        <a:lnTo>
                          <a:pt x="489" y="57"/>
                        </a:lnTo>
                        <a:lnTo>
                          <a:pt x="494" y="50"/>
                        </a:lnTo>
                        <a:lnTo>
                          <a:pt x="497" y="50"/>
                        </a:lnTo>
                        <a:lnTo>
                          <a:pt x="499" y="50"/>
                        </a:lnTo>
                        <a:lnTo>
                          <a:pt x="504" y="50"/>
                        </a:lnTo>
                        <a:lnTo>
                          <a:pt x="506" y="50"/>
                        </a:lnTo>
                        <a:lnTo>
                          <a:pt x="506" y="48"/>
                        </a:lnTo>
                        <a:lnTo>
                          <a:pt x="508" y="48"/>
                        </a:lnTo>
                        <a:lnTo>
                          <a:pt x="508" y="45"/>
                        </a:lnTo>
                        <a:lnTo>
                          <a:pt x="508" y="43"/>
                        </a:lnTo>
                        <a:lnTo>
                          <a:pt x="508" y="38"/>
                        </a:lnTo>
                        <a:lnTo>
                          <a:pt x="511" y="36"/>
                        </a:lnTo>
                        <a:lnTo>
                          <a:pt x="511" y="33"/>
                        </a:lnTo>
                        <a:lnTo>
                          <a:pt x="513" y="29"/>
                        </a:lnTo>
                        <a:lnTo>
                          <a:pt x="513" y="26"/>
                        </a:lnTo>
                        <a:lnTo>
                          <a:pt x="515" y="26"/>
                        </a:lnTo>
                        <a:lnTo>
                          <a:pt x="513" y="24"/>
                        </a:lnTo>
                        <a:lnTo>
                          <a:pt x="513" y="22"/>
                        </a:lnTo>
                        <a:lnTo>
                          <a:pt x="513" y="19"/>
                        </a:lnTo>
                        <a:lnTo>
                          <a:pt x="511" y="19"/>
                        </a:lnTo>
                        <a:lnTo>
                          <a:pt x="511" y="17"/>
                        </a:lnTo>
                        <a:lnTo>
                          <a:pt x="511" y="14"/>
                        </a:lnTo>
                        <a:lnTo>
                          <a:pt x="511" y="12"/>
                        </a:lnTo>
                        <a:lnTo>
                          <a:pt x="513" y="7"/>
                        </a:lnTo>
                        <a:lnTo>
                          <a:pt x="527" y="5"/>
                        </a:lnTo>
                        <a:lnTo>
                          <a:pt x="530" y="5"/>
                        </a:lnTo>
                        <a:lnTo>
                          <a:pt x="530" y="5"/>
                        </a:lnTo>
                        <a:lnTo>
                          <a:pt x="534" y="0"/>
                        </a:lnTo>
                        <a:lnTo>
                          <a:pt x="534" y="0"/>
                        </a:lnTo>
                        <a:lnTo>
                          <a:pt x="534" y="0"/>
                        </a:lnTo>
                        <a:lnTo>
                          <a:pt x="537" y="0"/>
                        </a:lnTo>
                        <a:lnTo>
                          <a:pt x="539" y="3"/>
                        </a:lnTo>
                        <a:lnTo>
                          <a:pt x="549" y="7"/>
                        </a:lnTo>
                        <a:lnTo>
                          <a:pt x="551" y="10"/>
                        </a:lnTo>
                        <a:lnTo>
                          <a:pt x="560" y="22"/>
                        </a:lnTo>
                        <a:lnTo>
                          <a:pt x="560" y="24"/>
                        </a:lnTo>
                        <a:lnTo>
                          <a:pt x="560" y="26"/>
                        </a:lnTo>
                        <a:lnTo>
                          <a:pt x="563" y="29"/>
                        </a:lnTo>
                        <a:lnTo>
                          <a:pt x="563" y="31"/>
                        </a:lnTo>
                        <a:lnTo>
                          <a:pt x="565" y="31"/>
                        </a:lnTo>
                        <a:lnTo>
                          <a:pt x="567" y="33"/>
                        </a:lnTo>
                        <a:lnTo>
                          <a:pt x="567" y="33"/>
                        </a:lnTo>
                        <a:lnTo>
                          <a:pt x="570" y="33"/>
                        </a:lnTo>
                        <a:lnTo>
                          <a:pt x="572" y="33"/>
                        </a:lnTo>
                        <a:lnTo>
                          <a:pt x="575" y="33"/>
                        </a:lnTo>
                        <a:lnTo>
                          <a:pt x="575" y="36"/>
                        </a:lnTo>
                        <a:lnTo>
                          <a:pt x="577" y="36"/>
                        </a:lnTo>
                        <a:lnTo>
                          <a:pt x="577" y="36"/>
                        </a:lnTo>
                        <a:lnTo>
                          <a:pt x="579" y="41"/>
                        </a:lnTo>
                        <a:lnTo>
                          <a:pt x="579" y="43"/>
                        </a:lnTo>
                        <a:lnTo>
                          <a:pt x="577" y="62"/>
                        </a:lnTo>
                        <a:lnTo>
                          <a:pt x="567" y="69"/>
                        </a:lnTo>
                        <a:lnTo>
                          <a:pt x="567" y="69"/>
                        </a:lnTo>
                        <a:lnTo>
                          <a:pt x="565" y="69"/>
                        </a:lnTo>
                        <a:lnTo>
                          <a:pt x="558" y="71"/>
                        </a:lnTo>
                        <a:lnTo>
                          <a:pt x="553" y="71"/>
                        </a:lnTo>
                        <a:lnTo>
                          <a:pt x="553" y="71"/>
                        </a:lnTo>
                        <a:lnTo>
                          <a:pt x="549" y="71"/>
                        </a:lnTo>
                        <a:lnTo>
                          <a:pt x="549" y="71"/>
                        </a:lnTo>
                        <a:lnTo>
                          <a:pt x="544" y="71"/>
                        </a:lnTo>
                        <a:lnTo>
                          <a:pt x="544" y="71"/>
                        </a:lnTo>
                        <a:lnTo>
                          <a:pt x="534" y="71"/>
                        </a:lnTo>
                        <a:lnTo>
                          <a:pt x="532" y="71"/>
                        </a:lnTo>
                        <a:lnTo>
                          <a:pt x="527" y="71"/>
                        </a:lnTo>
                        <a:lnTo>
                          <a:pt x="523" y="71"/>
                        </a:lnTo>
                        <a:lnTo>
                          <a:pt x="523" y="71"/>
                        </a:lnTo>
                        <a:lnTo>
                          <a:pt x="520" y="71"/>
                        </a:lnTo>
                        <a:lnTo>
                          <a:pt x="520" y="74"/>
                        </a:lnTo>
                        <a:lnTo>
                          <a:pt x="520" y="76"/>
                        </a:lnTo>
                        <a:lnTo>
                          <a:pt x="520" y="81"/>
                        </a:lnTo>
                        <a:lnTo>
                          <a:pt x="518" y="83"/>
                        </a:lnTo>
                        <a:lnTo>
                          <a:pt x="518" y="88"/>
                        </a:lnTo>
                        <a:lnTo>
                          <a:pt x="515" y="88"/>
                        </a:lnTo>
                        <a:lnTo>
                          <a:pt x="511" y="88"/>
                        </a:lnTo>
                        <a:lnTo>
                          <a:pt x="511" y="90"/>
                        </a:lnTo>
                        <a:lnTo>
                          <a:pt x="508" y="90"/>
                        </a:lnTo>
                        <a:lnTo>
                          <a:pt x="508" y="93"/>
                        </a:lnTo>
                        <a:lnTo>
                          <a:pt x="508" y="95"/>
                        </a:lnTo>
                        <a:lnTo>
                          <a:pt x="508" y="97"/>
                        </a:lnTo>
                        <a:lnTo>
                          <a:pt x="511" y="97"/>
                        </a:lnTo>
                        <a:lnTo>
                          <a:pt x="511" y="100"/>
                        </a:lnTo>
                        <a:lnTo>
                          <a:pt x="515" y="100"/>
                        </a:lnTo>
                        <a:lnTo>
                          <a:pt x="515" y="102"/>
                        </a:lnTo>
                        <a:lnTo>
                          <a:pt x="518" y="102"/>
                        </a:lnTo>
                        <a:lnTo>
                          <a:pt x="518" y="104"/>
                        </a:lnTo>
                        <a:lnTo>
                          <a:pt x="520" y="104"/>
                        </a:lnTo>
                        <a:lnTo>
                          <a:pt x="520" y="107"/>
                        </a:lnTo>
                        <a:lnTo>
                          <a:pt x="520" y="109"/>
                        </a:lnTo>
                        <a:lnTo>
                          <a:pt x="520" y="109"/>
                        </a:lnTo>
                        <a:lnTo>
                          <a:pt x="520" y="111"/>
                        </a:lnTo>
                        <a:lnTo>
                          <a:pt x="520" y="114"/>
                        </a:lnTo>
                        <a:lnTo>
                          <a:pt x="520" y="116"/>
                        </a:lnTo>
                        <a:lnTo>
                          <a:pt x="520" y="121"/>
                        </a:lnTo>
                        <a:lnTo>
                          <a:pt x="518" y="123"/>
                        </a:lnTo>
                        <a:lnTo>
                          <a:pt x="518" y="123"/>
                        </a:lnTo>
                        <a:lnTo>
                          <a:pt x="513" y="128"/>
                        </a:lnTo>
                        <a:lnTo>
                          <a:pt x="513" y="130"/>
                        </a:lnTo>
                        <a:lnTo>
                          <a:pt x="513" y="130"/>
                        </a:lnTo>
                        <a:lnTo>
                          <a:pt x="513" y="133"/>
                        </a:lnTo>
                        <a:lnTo>
                          <a:pt x="513" y="138"/>
                        </a:lnTo>
                        <a:lnTo>
                          <a:pt x="513" y="140"/>
                        </a:lnTo>
                        <a:lnTo>
                          <a:pt x="515" y="142"/>
                        </a:lnTo>
                        <a:lnTo>
                          <a:pt x="515" y="145"/>
                        </a:lnTo>
                        <a:lnTo>
                          <a:pt x="518" y="145"/>
                        </a:lnTo>
                        <a:lnTo>
                          <a:pt x="520" y="147"/>
                        </a:lnTo>
                        <a:lnTo>
                          <a:pt x="523" y="147"/>
                        </a:lnTo>
                        <a:lnTo>
                          <a:pt x="527" y="149"/>
                        </a:lnTo>
                        <a:lnTo>
                          <a:pt x="530" y="149"/>
                        </a:lnTo>
                        <a:lnTo>
                          <a:pt x="530" y="149"/>
                        </a:lnTo>
                        <a:lnTo>
                          <a:pt x="532" y="152"/>
                        </a:lnTo>
                        <a:lnTo>
                          <a:pt x="530" y="156"/>
                        </a:lnTo>
                        <a:lnTo>
                          <a:pt x="527" y="166"/>
                        </a:lnTo>
                        <a:lnTo>
                          <a:pt x="527" y="166"/>
                        </a:lnTo>
                        <a:lnTo>
                          <a:pt x="527" y="168"/>
                        </a:lnTo>
                        <a:lnTo>
                          <a:pt x="527" y="173"/>
                        </a:lnTo>
                        <a:lnTo>
                          <a:pt x="527" y="175"/>
                        </a:lnTo>
                        <a:lnTo>
                          <a:pt x="530" y="175"/>
                        </a:lnTo>
                        <a:lnTo>
                          <a:pt x="530" y="178"/>
                        </a:lnTo>
                        <a:lnTo>
                          <a:pt x="539" y="180"/>
                        </a:lnTo>
                        <a:lnTo>
                          <a:pt x="541" y="180"/>
                        </a:lnTo>
                        <a:lnTo>
                          <a:pt x="544" y="182"/>
                        </a:lnTo>
                        <a:lnTo>
                          <a:pt x="546" y="185"/>
                        </a:lnTo>
                        <a:lnTo>
                          <a:pt x="546" y="185"/>
                        </a:lnTo>
                        <a:lnTo>
                          <a:pt x="549" y="187"/>
                        </a:lnTo>
                        <a:lnTo>
                          <a:pt x="549" y="194"/>
                        </a:lnTo>
                        <a:lnTo>
                          <a:pt x="551" y="197"/>
                        </a:lnTo>
                        <a:lnTo>
                          <a:pt x="553" y="199"/>
                        </a:lnTo>
                        <a:lnTo>
                          <a:pt x="553" y="201"/>
                        </a:lnTo>
                        <a:lnTo>
                          <a:pt x="556" y="201"/>
                        </a:lnTo>
                        <a:lnTo>
                          <a:pt x="563" y="206"/>
                        </a:lnTo>
                        <a:lnTo>
                          <a:pt x="563" y="208"/>
                        </a:lnTo>
                        <a:lnTo>
                          <a:pt x="563" y="208"/>
                        </a:lnTo>
                        <a:lnTo>
                          <a:pt x="570" y="216"/>
                        </a:lnTo>
                        <a:lnTo>
                          <a:pt x="570" y="216"/>
                        </a:lnTo>
                        <a:lnTo>
                          <a:pt x="570" y="218"/>
                        </a:lnTo>
                        <a:lnTo>
                          <a:pt x="572" y="218"/>
                        </a:lnTo>
                        <a:lnTo>
                          <a:pt x="575" y="218"/>
                        </a:lnTo>
                        <a:lnTo>
                          <a:pt x="579" y="218"/>
                        </a:lnTo>
                        <a:lnTo>
                          <a:pt x="582" y="220"/>
                        </a:lnTo>
                        <a:lnTo>
                          <a:pt x="582" y="220"/>
                        </a:lnTo>
                        <a:lnTo>
                          <a:pt x="582" y="220"/>
                        </a:lnTo>
                        <a:lnTo>
                          <a:pt x="584" y="223"/>
                        </a:lnTo>
                        <a:lnTo>
                          <a:pt x="584" y="223"/>
                        </a:lnTo>
                        <a:lnTo>
                          <a:pt x="584" y="225"/>
                        </a:lnTo>
                        <a:lnTo>
                          <a:pt x="586" y="227"/>
                        </a:lnTo>
                        <a:lnTo>
                          <a:pt x="586" y="227"/>
                        </a:lnTo>
                        <a:lnTo>
                          <a:pt x="589" y="230"/>
                        </a:lnTo>
                        <a:lnTo>
                          <a:pt x="589" y="230"/>
                        </a:lnTo>
                        <a:lnTo>
                          <a:pt x="594" y="230"/>
                        </a:lnTo>
                        <a:lnTo>
                          <a:pt x="598" y="230"/>
                        </a:lnTo>
                        <a:lnTo>
                          <a:pt x="598" y="230"/>
                        </a:lnTo>
                        <a:lnTo>
                          <a:pt x="601" y="230"/>
                        </a:lnTo>
                        <a:lnTo>
                          <a:pt x="603" y="230"/>
                        </a:lnTo>
                        <a:lnTo>
                          <a:pt x="603" y="230"/>
                        </a:lnTo>
                        <a:lnTo>
                          <a:pt x="603" y="232"/>
                        </a:lnTo>
                        <a:lnTo>
                          <a:pt x="598" y="235"/>
                        </a:lnTo>
                        <a:lnTo>
                          <a:pt x="589" y="239"/>
                        </a:lnTo>
                        <a:lnTo>
                          <a:pt x="584" y="242"/>
                        </a:lnTo>
                        <a:lnTo>
                          <a:pt x="584" y="244"/>
                        </a:lnTo>
                        <a:lnTo>
                          <a:pt x="584" y="246"/>
                        </a:lnTo>
                        <a:lnTo>
                          <a:pt x="584" y="246"/>
                        </a:lnTo>
                        <a:lnTo>
                          <a:pt x="586" y="249"/>
                        </a:lnTo>
                        <a:lnTo>
                          <a:pt x="586" y="251"/>
                        </a:lnTo>
                        <a:lnTo>
                          <a:pt x="586" y="251"/>
                        </a:lnTo>
                        <a:lnTo>
                          <a:pt x="586" y="253"/>
                        </a:lnTo>
                        <a:lnTo>
                          <a:pt x="586" y="253"/>
                        </a:lnTo>
                        <a:lnTo>
                          <a:pt x="584" y="256"/>
                        </a:lnTo>
                        <a:lnTo>
                          <a:pt x="584" y="256"/>
                        </a:lnTo>
                        <a:lnTo>
                          <a:pt x="582" y="258"/>
                        </a:lnTo>
                        <a:lnTo>
                          <a:pt x="582" y="258"/>
                        </a:lnTo>
                        <a:lnTo>
                          <a:pt x="577" y="258"/>
                        </a:lnTo>
                        <a:lnTo>
                          <a:pt x="575" y="256"/>
                        </a:lnTo>
                        <a:lnTo>
                          <a:pt x="572" y="256"/>
                        </a:lnTo>
                        <a:lnTo>
                          <a:pt x="572" y="258"/>
                        </a:lnTo>
                        <a:lnTo>
                          <a:pt x="570" y="261"/>
                        </a:lnTo>
                        <a:lnTo>
                          <a:pt x="567" y="261"/>
                        </a:lnTo>
                        <a:lnTo>
                          <a:pt x="565" y="261"/>
                        </a:lnTo>
                        <a:lnTo>
                          <a:pt x="560" y="261"/>
                        </a:lnTo>
                        <a:lnTo>
                          <a:pt x="558" y="261"/>
                        </a:lnTo>
                        <a:lnTo>
                          <a:pt x="556" y="261"/>
                        </a:lnTo>
                        <a:lnTo>
                          <a:pt x="551" y="256"/>
                        </a:lnTo>
                        <a:lnTo>
                          <a:pt x="546" y="253"/>
                        </a:lnTo>
                        <a:lnTo>
                          <a:pt x="534" y="253"/>
                        </a:lnTo>
                        <a:lnTo>
                          <a:pt x="520" y="249"/>
                        </a:lnTo>
                        <a:lnTo>
                          <a:pt x="520" y="251"/>
                        </a:lnTo>
                        <a:lnTo>
                          <a:pt x="518" y="251"/>
                        </a:lnTo>
                        <a:lnTo>
                          <a:pt x="518" y="256"/>
                        </a:lnTo>
                        <a:lnTo>
                          <a:pt x="518" y="261"/>
                        </a:lnTo>
                        <a:lnTo>
                          <a:pt x="515" y="261"/>
                        </a:lnTo>
                        <a:lnTo>
                          <a:pt x="515" y="263"/>
                        </a:lnTo>
                        <a:lnTo>
                          <a:pt x="515" y="265"/>
                        </a:lnTo>
                        <a:lnTo>
                          <a:pt x="508" y="272"/>
                        </a:lnTo>
                        <a:lnTo>
                          <a:pt x="499" y="282"/>
                        </a:lnTo>
                        <a:lnTo>
                          <a:pt x="499" y="284"/>
                        </a:lnTo>
                        <a:lnTo>
                          <a:pt x="499" y="284"/>
                        </a:lnTo>
                        <a:lnTo>
                          <a:pt x="504" y="303"/>
                        </a:lnTo>
                        <a:lnTo>
                          <a:pt x="504" y="305"/>
                        </a:lnTo>
                        <a:lnTo>
                          <a:pt x="506" y="310"/>
                        </a:lnTo>
                        <a:lnTo>
                          <a:pt x="508" y="313"/>
                        </a:lnTo>
                        <a:lnTo>
                          <a:pt x="508" y="313"/>
                        </a:lnTo>
                        <a:lnTo>
                          <a:pt x="511" y="315"/>
                        </a:lnTo>
                        <a:lnTo>
                          <a:pt x="515" y="315"/>
                        </a:lnTo>
                        <a:lnTo>
                          <a:pt x="523" y="315"/>
                        </a:lnTo>
                        <a:lnTo>
                          <a:pt x="525" y="315"/>
                        </a:lnTo>
                        <a:lnTo>
                          <a:pt x="527" y="315"/>
                        </a:lnTo>
                        <a:lnTo>
                          <a:pt x="530" y="313"/>
                        </a:lnTo>
                        <a:lnTo>
                          <a:pt x="530" y="313"/>
                        </a:lnTo>
                        <a:lnTo>
                          <a:pt x="591" y="336"/>
                        </a:lnTo>
                        <a:lnTo>
                          <a:pt x="596" y="334"/>
                        </a:lnTo>
                        <a:lnTo>
                          <a:pt x="601" y="334"/>
                        </a:lnTo>
                        <a:lnTo>
                          <a:pt x="601" y="336"/>
                        </a:lnTo>
                        <a:lnTo>
                          <a:pt x="603" y="336"/>
                        </a:lnTo>
                        <a:lnTo>
                          <a:pt x="608" y="341"/>
                        </a:lnTo>
                        <a:lnTo>
                          <a:pt x="612" y="343"/>
                        </a:lnTo>
                        <a:lnTo>
                          <a:pt x="617" y="343"/>
                        </a:lnTo>
                        <a:lnTo>
                          <a:pt x="620" y="346"/>
                        </a:lnTo>
                        <a:lnTo>
                          <a:pt x="622" y="348"/>
                        </a:lnTo>
                        <a:lnTo>
                          <a:pt x="622" y="350"/>
                        </a:lnTo>
                        <a:lnTo>
                          <a:pt x="622" y="350"/>
                        </a:lnTo>
                        <a:lnTo>
                          <a:pt x="622" y="353"/>
                        </a:lnTo>
                        <a:lnTo>
                          <a:pt x="622" y="355"/>
                        </a:lnTo>
                        <a:lnTo>
                          <a:pt x="620" y="360"/>
                        </a:lnTo>
                        <a:lnTo>
                          <a:pt x="620" y="362"/>
                        </a:lnTo>
                        <a:lnTo>
                          <a:pt x="620" y="365"/>
                        </a:lnTo>
                        <a:lnTo>
                          <a:pt x="622" y="374"/>
                        </a:lnTo>
                        <a:lnTo>
                          <a:pt x="622" y="376"/>
                        </a:lnTo>
                        <a:lnTo>
                          <a:pt x="622" y="379"/>
                        </a:lnTo>
                        <a:lnTo>
                          <a:pt x="622" y="379"/>
                        </a:lnTo>
                        <a:lnTo>
                          <a:pt x="622" y="381"/>
                        </a:lnTo>
                        <a:lnTo>
                          <a:pt x="624" y="381"/>
                        </a:lnTo>
                        <a:lnTo>
                          <a:pt x="627" y="381"/>
                        </a:lnTo>
                        <a:lnTo>
                          <a:pt x="629" y="381"/>
                        </a:lnTo>
                        <a:lnTo>
                          <a:pt x="634" y="379"/>
                        </a:lnTo>
                        <a:lnTo>
                          <a:pt x="634" y="379"/>
                        </a:lnTo>
                        <a:lnTo>
                          <a:pt x="636" y="379"/>
                        </a:lnTo>
                        <a:lnTo>
                          <a:pt x="638" y="379"/>
                        </a:lnTo>
                        <a:lnTo>
                          <a:pt x="669" y="388"/>
                        </a:lnTo>
                        <a:lnTo>
                          <a:pt x="674" y="391"/>
                        </a:lnTo>
                        <a:lnTo>
                          <a:pt x="674" y="391"/>
                        </a:lnTo>
                        <a:lnTo>
                          <a:pt x="676" y="393"/>
                        </a:lnTo>
                        <a:lnTo>
                          <a:pt x="676" y="393"/>
                        </a:lnTo>
                        <a:lnTo>
                          <a:pt x="676" y="395"/>
                        </a:lnTo>
                        <a:lnTo>
                          <a:pt x="679" y="395"/>
                        </a:lnTo>
                        <a:lnTo>
                          <a:pt x="679" y="395"/>
                        </a:lnTo>
                        <a:lnTo>
                          <a:pt x="681" y="398"/>
                        </a:lnTo>
                        <a:lnTo>
                          <a:pt x="683" y="398"/>
                        </a:lnTo>
                        <a:lnTo>
                          <a:pt x="686" y="398"/>
                        </a:lnTo>
                        <a:lnTo>
                          <a:pt x="691" y="395"/>
                        </a:lnTo>
                        <a:lnTo>
                          <a:pt x="695" y="395"/>
                        </a:lnTo>
                        <a:lnTo>
                          <a:pt x="702" y="391"/>
                        </a:lnTo>
                        <a:lnTo>
                          <a:pt x="705" y="386"/>
                        </a:lnTo>
                        <a:lnTo>
                          <a:pt x="709" y="379"/>
                        </a:lnTo>
                        <a:lnTo>
                          <a:pt x="712" y="376"/>
                        </a:lnTo>
                        <a:lnTo>
                          <a:pt x="712" y="374"/>
                        </a:lnTo>
                        <a:lnTo>
                          <a:pt x="714" y="374"/>
                        </a:lnTo>
                        <a:lnTo>
                          <a:pt x="717" y="374"/>
                        </a:lnTo>
                        <a:lnTo>
                          <a:pt x="735" y="376"/>
                        </a:lnTo>
                        <a:lnTo>
                          <a:pt x="740" y="379"/>
                        </a:lnTo>
                        <a:lnTo>
                          <a:pt x="740" y="381"/>
                        </a:lnTo>
                        <a:lnTo>
                          <a:pt x="743" y="381"/>
                        </a:lnTo>
                        <a:lnTo>
                          <a:pt x="745" y="388"/>
                        </a:lnTo>
                        <a:lnTo>
                          <a:pt x="745" y="391"/>
                        </a:lnTo>
                        <a:lnTo>
                          <a:pt x="747" y="391"/>
                        </a:lnTo>
                        <a:lnTo>
                          <a:pt x="747" y="393"/>
                        </a:lnTo>
                        <a:lnTo>
                          <a:pt x="750" y="393"/>
                        </a:lnTo>
                        <a:lnTo>
                          <a:pt x="752" y="393"/>
                        </a:lnTo>
                        <a:lnTo>
                          <a:pt x="757" y="393"/>
                        </a:lnTo>
                        <a:lnTo>
                          <a:pt x="759" y="393"/>
                        </a:lnTo>
                        <a:lnTo>
                          <a:pt x="762" y="393"/>
                        </a:lnTo>
                        <a:lnTo>
                          <a:pt x="762" y="391"/>
                        </a:lnTo>
                        <a:lnTo>
                          <a:pt x="764" y="391"/>
                        </a:lnTo>
                        <a:lnTo>
                          <a:pt x="766" y="391"/>
                        </a:lnTo>
                        <a:lnTo>
                          <a:pt x="769" y="391"/>
                        </a:lnTo>
                        <a:lnTo>
                          <a:pt x="776" y="395"/>
                        </a:lnTo>
                        <a:lnTo>
                          <a:pt x="780" y="395"/>
                        </a:lnTo>
                        <a:lnTo>
                          <a:pt x="785" y="395"/>
                        </a:lnTo>
                        <a:lnTo>
                          <a:pt x="790" y="395"/>
                        </a:lnTo>
                        <a:lnTo>
                          <a:pt x="797" y="398"/>
                        </a:lnTo>
                        <a:lnTo>
                          <a:pt x="816" y="410"/>
                        </a:lnTo>
                        <a:lnTo>
                          <a:pt x="818" y="412"/>
                        </a:lnTo>
                        <a:lnTo>
                          <a:pt x="821" y="414"/>
                        </a:lnTo>
                        <a:lnTo>
                          <a:pt x="823" y="417"/>
                        </a:lnTo>
                        <a:lnTo>
                          <a:pt x="823" y="417"/>
                        </a:lnTo>
                        <a:lnTo>
                          <a:pt x="825" y="419"/>
                        </a:lnTo>
                        <a:lnTo>
                          <a:pt x="825" y="419"/>
                        </a:lnTo>
                        <a:lnTo>
                          <a:pt x="828" y="424"/>
                        </a:lnTo>
                        <a:lnTo>
                          <a:pt x="828" y="426"/>
                        </a:lnTo>
                        <a:lnTo>
                          <a:pt x="832" y="431"/>
                        </a:lnTo>
                        <a:lnTo>
                          <a:pt x="835" y="433"/>
                        </a:lnTo>
                        <a:lnTo>
                          <a:pt x="835" y="436"/>
                        </a:lnTo>
                        <a:lnTo>
                          <a:pt x="837" y="450"/>
                        </a:lnTo>
                        <a:lnTo>
                          <a:pt x="840" y="455"/>
                        </a:lnTo>
                        <a:lnTo>
                          <a:pt x="840" y="457"/>
                        </a:lnTo>
                        <a:lnTo>
                          <a:pt x="842" y="457"/>
                        </a:lnTo>
                        <a:lnTo>
                          <a:pt x="842" y="459"/>
                        </a:lnTo>
                        <a:lnTo>
                          <a:pt x="842" y="459"/>
                        </a:lnTo>
                        <a:lnTo>
                          <a:pt x="844" y="462"/>
                        </a:lnTo>
                        <a:lnTo>
                          <a:pt x="844" y="469"/>
                        </a:lnTo>
                        <a:lnTo>
                          <a:pt x="844" y="471"/>
                        </a:lnTo>
                        <a:close/>
                        <a:moveTo>
                          <a:pt x="338" y="398"/>
                        </a:moveTo>
                        <a:lnTo>
                          <a:pt x="338" y="398"/>
                        </a:lnTo>
                        <a:lnTo>
                          <a:pt x="340" y="395"/>
                        </a:lnTo>
                        <a:lnTo>
                          <a:pt x="338" y="393"/>
                        </a:lnTo>
                        <a:lnTo>
                          <a:pt x="336" y="395"/>
                        </a:lnTo>
                        <a:lnTo>
                          <a:pt x="336" y="395"/>
                        </a:lnTo>
                        <a:lnTo>
                          <a:pt x="338" y="398"/>
                        </a:lnTo>
                        <a:lnTo>
                          <a:pt x="338" y="398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39" name="Freeform 39">
                    <a:extLst>
                      <a:ext uri="{FF2B5EF4-FFF2-40B4-BE49-F238E27FC236}">
                        <a16:creationId xmlns:a16="http://schemas.microsoft.com/office/drawing/2014/main" id="{45EDAE3F-DE7A-4491-A4F8-ADA03AF557B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705068" y="2848431"/>
                    <a:ext cx="766930" cy="653979"/>
                  </a:xfrm>
                  <a:custGeom>
                    <a:avLst/>
                    <a:gdLst>
                      <a:gd name="T0" fmla="*/ 217 w 603"/>
                      <a:gd name="T1" fmla="*/ 10 h 514"/>
                      <a:gd name="T2" fmla="*/ 414 w 603"/>
                      <a:gd name="T3" fmla="*/ 114 h 514"/>
                      <a:gd name="T4" fmla="*/ 433 w 603"/>
                      <a:gd name="T5" fmla="*/ 104 h 514"/>
                      <a:gd name="T6" fmla="*/ 456 w 603"/>
                      <a:gd name="T7" fmla="*/ 128 h 514"/>
                      <a:gd name="T8" fmla="*/ 546 w 603"/>
                      <a:gd name="T9" fmla="*/ 272 h 514"/>
                      <a:gd name="T10" fmla="*/ 598 w 603"/>
                      <a:gd name="T11" fmla="*/ 395 h 514"/>
                      <a:gd name="T12" fmla="*/ 544 w 603"/>
                      <a:gd name="T13" fmla="*/ 426 h 514"/>
                      <a:gd name="T14" fmla="*/ 537 w 603"/>
                      <a:gd name="T15" fmla="*/ 443 h 514"/>
                      <a:gd name="T16" fmla="*/ 508 w 603"/>
                      <a:gd name="T17" fmla="*/ 452 h 514"/>
                      <a:gd name="T18" fmla="*/ 494 w 603"/>
                      <a:gd name="T19" fmla="*/ 452 h 514"/>
                      <a:gd name="T20" fmla="*/ 487 w 603"/>
                      <a:gd name="T21" fmla="*/ 478 h 514"/>
                      <a:gd name="T22" fmla="*/ 473 w 603"/>
                      <a:gd name="T23" fmla="*/ 495 h 514"/>
                      <a:gd name="T24" fmla="*/ 433 w 603"/>
                      <a:gd name="T25" fmla="*/ 499 h 514"/>
                      <a:gd name="T26" fmla="*/ 411 w 603"/>
                      <a:gd name="T27" fmla="*/ 497 h 514"/>
                      <a:gd name="T28" fmla="*/ 407 w 603"/>
                      <a:gd name="T29" fmla="*/ 488 h 514"/>
                      <a:gd name="T30" fmla="*/ 411 w 603"/>
                      <a:gd name="T31" fmla="*/ 466 h 514"/>
                      <a:gd name="T32" fmla="*/ 383 w 603"/>
                      <a:gd name="T33" fmla="*/ 464 h 514"/>
                      <a:gd name="T34" fmla="*/ 362 w 603"/>
                      <a:gd name="T35" fmla="*/ 445 h 514"/>
                      <a:gd name="T36" fmla="*/ 336 w 603"/>
                      <a:gd name="T37" fmla="*/ 431 h 514"/>
                      <a:gd name="T38" fmla="*/ 324 w 603"/>
                      <a:gd name="T39" fmla="*/ 443 h 514"/>
                      <a:gd name="T40" fmla="*/ 317 w 603"/>
                      <a:gd name="T41" fmla="*/ 435 h 514"/>
                      <a:gd name="T42" fmla="*/ 293 w 603"/>
                      <a:gd name="T43" fmla="*/ 414 h 514"/>
                      <a:gd name="T44" fmla="*/ 288 w 603"/>
                      <a:gd name="T45" fmla="*/ 398 h 514"/>
                      <a:gd name="T46" fmla="*/ 284 w 603"/>
                      <a:gd name="T47" fmla="*/ 369 h 514"/>
                      <a:gd name="T48" fmla="*/ 265 w 603"/>
                      <a:gd name="T49" fmla="*/ 350 h 514"/>
                      <a:gd name="T50" fmla="*/ 265 w 603"/>
                      <a:gd name="T51" fmla="*/ 336 h 514"/>
                      <a:gd name="T52" fmla="*/ 243 w 603"/>
                      <a:gd name="T53" fmla="*/ 294 h 514"/>
                      <a:gd name="T54" fmla="*/ 220 w 603"/>
                      <a:gd name="T55" fmla="*/ 253 h 514"/>
                      <a:gd name="T56" fmla="*/ 217 w 603"/>
                      <a:gd name="T57" fmla="*/ 223 h 514"/>
                      <a:gd name="T58" fmla="*/ 196 w 603"/>
                      <a:gd name="T59" fmla="*/ 230 h 514"/>
                      <a:gd name="T60" fmla="*/ 177 w 603"/>
                      <a:gd name="T61" fmla="*/ 234 h 514"/>
                      <a:gd name="T62" fmla="*/ 111 w 603"/>
                      <a:gd name="T63" fmla="*/ 199 h 514"/>
                      <a:gd name="T64" fmla="*/ 80 w 603"/>
                      <a:gd name="T65" fmla="*/ 201 h 514"/>
                      <a:gd name="T66" fmla="*/ 75 w 603"/>
                      <a:gd name="T67" fmla="*/ 192 h 514"/>
                      <a:gd name="T68" fmla="*/ 87 w 603"/>
                      <a:gd name="T69" fmla="*/ 185 h 514"/>
                      <a:gd name="T70" fmla="*/ 87 w 603"/>
                      <a:gd name="T71" fmla="*/ 171 h 514"/>
                      <a:gd name="T72" fmla="*/ 71 w 603"/>
                      <a:gd name="T73" fmla="*/ 178 h 514"/>
                      <a:gd name="T74" fmla="*/ 47 w 603"/>
                      <a:gd name="T75" fmla="*/ 178 h 514"/>
                      <a:gd name="T76" fmla="*/ 40 w 603"/>
                      <a:gd name="T77" fmla="*/ 159 h 514"/>
                      <a:gd name="T78" fmla="*/ 59 w 603"/>
                      <a:gd name="T79" fmla="*/ 137 h 514"/>
                      <a:gd name="T80" fmla="*/ 68 w 603"/>
                      <a:gd name="T81" fmla="*/ 140 h 514"/>
                      <a:gd name="T82" fmla="*/ 80 w 603"/>
                      <a:gd name="T83" fmla="*/ 123 h 514"/>
                      <a:gd name="T84" fmla="*/ 45 w 603"/>
                      <a:gd name="T85" fmla="*/ 111 h 514"/>
                      <a:gd name="T86" fmla="*/ 30 w 603"/>
                      <a:gd name="T87" fmla="*/ 121 h 514"/>
                      <a:gd name="T88" fmla="*/ 14 w 603"/>
                      <a:gd name="T89" fmla="*/ 118 h 514"/>
                      <a:gd name="T90" fmla="*/ 7 w 603"/>
                      <a:gd name="T91" fmla="*/ 92 h 514"/>
                      <a:gd name="T92" fmla="*/ 9 w 603"/>
                      <a:gd name="T93" fmla="*/ 45 h 514"/>
                      <a:gd name="T94" fmla="*/ 33 w 603"/>
                      <a:gd name="T95" fmla="*/ 45 h 514"/>
                      <a:gd name="T96" fmla="*/ 73 w 603"/>
                      <a:gd name="T97" fmla="*/ 19 h 514"/>
                      <a:gd name="T98" fmla="*/ 104 w 603"/>
                      <a:gd name="T99" fmla="*/ 36 h 514"/>
                      <a:gd name="T100" fmla="*/ 125 w 603"/>
                      <a:gd name="T101" fmla="*/ 40 h 514"/>
                      <a:gd name="T102" fmla="*/ 132 w 603"/>
                      <a:gd name="T103" fmla="*/ 47 h 514"/>
                      <a:gd name="T104" fmla="*/ 142 w 603"/>
                      <a:gd name="T105" fmla="*/ 43 h 514"/>
                      <a:gd name="T106" fmla="*/ 165 w 603"/>
                      <a:gd name="T107" fmla="*/ 59 h 514"/>
                      <a:gd name="T108" fmla="*/ 172 w 603"/>
                      <a:gd name="T109" fmla="*/ 47 h 514"/>
                      <a:gd name="T110" fmla="*/ 184 w 603"/>
                      <a:gd name="T111" fmla="*/ 29 h 514"/>
                      <a:gd name="T112" fmla="*/ 182 w 603"/>
                      <a:gd name="T113" fmla="*/ 5 h 5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603" h="514">
                        <a:moveTo>
                          <a:pt x="182" y="5"/>
                        </a:moveTo>
                        <a:lnTo>
                          <a:pt x="182" y="5"/>
                        </a:lnTo>
                        <a:lnTo>
                          <a:pt x="182" y="0"/>
                        </a:lnTo>
                        <a:lnTo>
                          <a:pt x="182" y="0"/>
                        </a:lnTo>
                        <a:lnTo>
                          <a:pt x="184" y="0"/>
                        </a:lnTo>
                        <a:lnTo>
                          <a:pt x="198" y="0"/>
                        </a:lnTo>
                        <a:lnTo>
                          <a:pt x="203" y="3"/>
                        </a:lnTo>
                        <a:lnTo>
                          <a:pt x="217" y="10"/>
                        </a:lnTo>
                        <a:lnTo>
                          <a:pt x="239" y="14"/>
                        </a:lnTo>
                        <a:lnTo>
                          <a:pt x="243" y="19"/>
                        </a:lnTo>
                        <a:lnTo>
                          <a:pt x="246" y="21"/>
                        </a:lnTo>
                        <a:lnTo>
                          <a:pt x="350" y="88"/>
                        </a:lnTo>
                        <a:lnTo>
                          <a:pt x="390" y="104"/>
                        </a:lnTo>
                        <a:lnTo>
                          <a:pt x="395" y="107"/>
                        </a:lnTo>
                        <a:lnTo>
                          <a:pt x="399" y="109"/>
                        </a:lnTo>
                        <a:lnTo>
                          <a:pt x="414" y="114"/>
                        </a:lnTo>
                        <a:lnTo>
                          <a:pt x="423" y="116"/>
                        </a:lnTo>
                        <a:lnTo>
                          <a:pt x="425" y="114"/>
                        </a:lnTo>
                        <a:lnTo>
                          <a:pt x="428" y="111"/>
                        </a:lnTo>
                        <a:lnTo>
                          <a:pt x="428" y="109"/>
                        </a:lnTo>
                        <a:lnTo>
                          <a:pt x="430" y="109"/>
                        </a:lnTo>
                        <a:lnTo>
                          <a:pt x="430" y="107"/>
                        </a:lnTo>
                        <a:lnTo>
                          <a:pt x="430" y="107"/>
                        </a:lnTo>
                        <a:lnTo>
                          <a:pt x="433" y="104"/>
                        </a:lnTo>
                        <a:lnTo>
                          <a:pt x="435" y="107"/>
                        </a:lnTo>
                        <a:lnTo>
                          <a:pt x="435" y="107"/>
                        </a:lnTo>
                        <a:lnTo>
                          <a:pt x="437" y="109"/>
                        </a:lnTo>
                        <a:lnTo>
                          <a:pt x="437" y="109"/>
                        </a:lnTo>
                        <a:lnTo>
                          <a:pt x="444" y="111"/>
                        </a:lnTo>
                        <a:lnTo>
                          <a:pt x="449" y="118"/>
                        </a:lnTo>
                        <a:lnTo>
                          <a:pt x="454" y="126"/>
                        </a:lnTo>
                        <a:lnTo>
                          <a:pt x="456" y="128"/>
                        </a:lnTo>
                        <a:lnTo>
                          <a:pt x="463" y="128"/>
                        </a:lnTo>
                        <a:lnTo>
                          <a:pt x="468" y="130"/>
                        </a:lnTo>
                        <a:lnTo>
                          <a:pt x="473" y="135"/>
                        </a:lnTo>
                        <a:lnTo>
                          <a:pt x="470" y="142"/>
                        </a:lnTo>
                        <a:lnTo>
                          <a:pt x="534" y="249"/>
                        </a:lnTo>
                        <a:lnTo>
                          <a:pt x="539" y="256"/>
                        </a:lnTo>
                        <a:lnTo>
                          <a:pt x="541" y="258"/>
                        </a:lnTo>
                        <a:lnTo>
                          <a:pt x="546" y="272"/>
                        </a:lnTo>
                        <a:lnTo>
                          <a:pt x="549" y="277"/>
                        </a:lnTo>
                        <a:lnTo>
                          <a:pt x="553" y="282"/>
                        </a:lnTo>
                        <a:lnTo>
                          <a:pt x="565" y="301"/>
                        </a:lnTo>
                        <a:lnTo>
                          <a:pt x="572" y="315"/>
                        </a:lnTo>
                        <a:lnTo>
                          <a:pt x="584" y="350"/>
                        </a:lnTo>
                        <a:lnTo>
                          <a:pt x="603" y="393"/>
                        </a:lnTo>
                        <a:lnTo>
                          <a:pt x="603" y="393"/>
                        </a:lnTo>
                        <a:lnTo>
                          <a:pt x="598" y="395"/>
                        </a:lnTo>
                        <a:lnTo>
                          <a:pt x="577" y="405"/>
                        </a:lnTo>
                        <a:lnTo>
                          <a:pt x="560" y="414"/>
                        </a:lnTo>
                        <a:lnTo>
                          <a:pt x="556" y="417"/>
                        </a:lnTo>
                        <a:lnTo>
                          <a:pt x="551" y="419"/>
                        </a:lnTo>
                        <a:lnTo>
                          <a:pt x="549" y="419"/>
                        </a:lnTo>
                        <a:lnTo>
                          <a:pt x="546" y="421"/>
                        </a:lnTo>
                        <a:lnTo>
                          <a:pt x="544" y="424"/>
                        </a:lnTo>
                        <a:lnTo>
                          <a:pt x="544" y="426"/>
                        </a:lnTo>
                        <a:lnTo>
                          <a:pt x="544" y="428"/>
                        </a:lnTo>
                        <a:lnTo>
                          <a:pt x="544" y="433"/>
                        </a:lnTo>
                        <a:lnTo>
                          <a:pt x="544" y="433"/>
                        </a:lnTo>
                        <a:lnTo>
                          <a:pt x="544" y="435"/>
                        </a:lnTo>
                        <a:lnTo>
                          <a:pt x="544" y="438"/>
                        </a:lnTo>
                        <a:lnTo>
                          <a:pt x="541" y="438"/>
                        </a:lnTo>
                        <a:lnTo>
                          <a:pt x="541" y="440"/>
                        </a:lnTo>
                        <a:lnTo>
                          <a:pt x="537" y="443"/>
                        </a:lnTo>
                        <a:lnTo>
                          <a:pt x="527" y="447"/>
                        </a:lnTo>
                        <a:lnTo>
                          <a:pt x="525" y="447"/>
                        </a:lnTo>
                        <a:lnTo>
                          <a:pt x="525" y="447"/>
                        </a:lnTo>
                        <a:lnTo>
                          <a:pt x="520" y="447"/>
                        </a:lnTo>
                        <a:lnTo>
                          <a:pt x="520" y="447"/>
                        </a:lnTo>
                        <a:lnTo>
                          <a:pt x="518" y="447"/>
                        </a:lnTo>
                        <a:lnTo>
                          <a:pt x="511" y="452"/>
                        </a:lnTo>
                        <a:lnTo>
                          <a:pt x="508" y="452"/>
                        </a:lnTo>
                        <a:lnTo>
                          <a:pt x="506" y="452"/>
                        </a:lnTo>
                        <a:lnTo>
                          <a:pt x="504" y="452"/>
                        </a:lnTo>
                        <a:lnTo>
                          <a:pt x="504" y="452"/>
                        </a:lnTo>
                        <a:lnTo>
                          <a:pt x="501" y="450"/>
                        </a:lnTo>
                        <a:lnTo>
                          <a:pt x="499" y="450"/>
                        </a:lnTo>
                        <a:lnTo>
                          <a:pt x="499" y="450"/>
                        </a:lnTo>
                        <a:lnTo>
                          <a:pt x="496" y="450"/>
                        </a:lnTo>
                        <a:lnTo>
                          <a:pt x="494" y="452"/>
                        </a:lnTo>
                        <a:lnTo>
                          <a:pt x="494" y="457"/>
                        </a:lnTo>
                        <a:lnTo>
                          <a:pt x="492" y="464"/>
                        </a:lnTo>
                        <a:lnTo>
                          <a:pt x="489" y="466"/>
                        </a:lnTo>
                        <a:lnTo>
                          <a:pt x="489" y="469"/>
                        </a:lnTo>
                        <a:lnTo>
                          <a:pt x="487" y="471"/>
                        </a:lnTo>
                        <a:lnTo>
                          <a:pt x="487" y="473"/>
                        </a:lnTo>
                        <a:lnTo>
                          <a:pt x="487" y="473"/>
                        </a:lnTo>
                        <a:lnTo>
                          <a:pt x="487" y="478"/>
                        </a:lnTo>
                        <a:lnTo>
                          <a:pt x="487" y="480"/>
                        </a:lnTo>
                        <a:lnTo>
                          <a:pt x="487" y="480"/>
                        </a:lnTo>
                        <a:lnTo>
                          <a:pt x="485" y="483"/>
                        </a:lnTo>
                        <a:lnTo>
                          <a:pt x="485" y="485"/>
                        </a:lnTo>
                        <a:lnTo>
                          <a:pt x="480" y="485"/>
                        </a:lnTo>
                        <a:lnTo>
                          <a:pt x="475" y="488"/>
                        </a:lnTo>
                        <a:lnTo>
                          <a:pt x="473" y="490"/>
                        </a:lnTo>
                        <a:lnTo>
                          <a:pt x="473" y="495"/>
                        </a:lnTo>
                        <a:lnTo>
                          <a:pt x="470" y="497"/>
                        </a:lnTo>
                        <a:lnTo>
                          <a:pt x="470" y="499"/>
                        </a:lnTo>
                        <a:lnTo>
                          <a:pt x="470" y="502"/>
                        </a:lnTo>
                        <a:lnTo>
                          <a:pt x="468" y="504"/>
                        </a:lnTo>
                        <a:lnTo>
                          <a:pt x="466" y="506"/>
                        </a:lnTo>
                        <a:lnTo>
                          <a:pt x="444" y="514"/>
                        </a:lnTo>
                        <a:lnTo>
                          <a:pt x="435" y="502"/>
                        </a:lnTo>
                        <a:lnTo>
                          <a:pt x="433" y="499"/>
                        </a:lnTo>
                        <a:lnTo>
                          <a:pt x="423" y="495"/>
                        </a:lnTo>
                        <a:lnTo>
                          <a:pt x="421" y="492"/>
                        </a:lnTo>
                        <a:lnTo>
                          <a:pt x="418" y="492"/>
                        </a:lnTo>
                        <a:lnTo>
                          <a:pt x="418" y="492"/>
                        </a:lnTo>
                        <a:lnTo>
                          <a:pt x="418" y="492"/>
                        </a:lnTo>
                        <a:lnTo>
                          <a:pt x="414" y="497"/>
                        </a:lnTo>
                        <a:lnTo>
                          <a:pt x="414" y="497"/>
                        </a:lnTo>
                        <a:lnTo>
                          <a:pt x="411" y="497"/>
                        </a:lnTo>
                        <a:lnTo>
                          <a:pt x="397" y="499"/>
                        </a:lnTo>
                        <a:lnTo>
                          <a:pt x="397" y="495"/>
                        </a:lnTo>
                        <a:lnTo>
                          <a:pt x="397" y="490"/>
                        </a:lnTo>
                        <a:lnTo>
                          <a:pt x="399" y="490"/>
                        </a:lnTo>
                        <a:lnTo>
                          <a:pt x="399" y="488"/>
                        </a:lnTo>
                        <a:lnTo>
                          <a:pt x="402" y="490"/>
                        </a:lnTo>
                        <a:lnTo>
                          <a:pt x="404" y="490"/>
                        </a:lnTo>
                        <a:lnTo>
                          <a:pt x="407" y="488"/>
                        </a:lnTo>
                        <a:lnTo>
                          <a:pt x="409" y="488"/>
                        </a:lnTo>
                        <a:lnTo>
                          <a:pt x="411" y="485"/>
                        </a:lnTo>
                        <a:lnTo>
                          <a:pt x="411" y="483"/>
                        </a:lnTo>
                        <a:lnTo>
                          <a:pt x="411" y="483"/>
                        </a:lnTo>
                        <a:lnTo>
                          <a:pt x="411" y="473"/>
                        </a:lnTo>
                        <a:lnTo>
                          <a:pt x="411" y="471"/>
                        </a:lnTo>
                        <a:lnTo>
                          <a:pt x="411" y="469"/>
                        </a:lnTo>
                        <a:lnTo>
                          <a:pt x="411" y="466"/>
                        </a:lnTo>
                        <a:lnTo>
                          <a:pt x="411" y="464"/>
                        </a:lnTo>
                        <a:lnTo>
                          <a:pt x="407" y="459"/>
                        </a:lnTo>
                        <a:lnTo>
                          <a:pt x="404" y="454"/>
                        </a:lnTo>
                        <a:lnTo>
                          <a:pt x="404" y="452"/>
                        </a:lnTo>
                        <a:lnTo>
                          <a:pt x="402" y="452"/>
                        </a:lnTo>
                        <a:lnTo>
                          <a:pt x="402" y="452"/>
                        </a:lnTo>
                        <a:lnTo>
                          <a:pt x="399" y="452"/>
                        </a:lnTo>
                        <a:lnTo>
                          <a:pt x="383" y="464"/>
                        </a:lnTo>
                        <a:lnTo>
                          <a:pt x="378" y="464"/>
                        </a:lnTo>
                        <a:lnTo>
                          <a:pt x="378" y="464"/>
                        </a:lnTo>
                        <a:lnTo>
                          <a:pt x="376" y="462"/>
                        </a:lnTo>
                        <a:lnTo>
                          <a:pt x="376" y="459"/>
                        </a:lnTo>
                        <a:lnTo>
                          <a:pt x="376" y="457"/>
                        </a:lnTo>
                        <a:lnTo>
                          <a:pt x="373" y="457"/>
                        </a:lnTo>
                        <a:lnTo>
                          <a:pt x="373" y="454"/>
                        </a:lnTo>
                        <a:lnTo>
                          <a:pt x="362" y="445"/>
                        </a:lnTo>
                        <a:lnTo>
                          <a:pt x="359" y="443"/>
                        </a:lnTo>
                        <a:lnTo>
                          <a:pt x="354" y="440"/>
                        </a:lnTo>
                        <a:lnTo>
                          <a:pt x="347" y="435"/>
                        </a:lnTo>
                        <a:lnTo>
                          <a:pt x="343" y="433"/>
                        </a:lnTo>
                        <a:lnTo>
                          <a:pt x="340" y="431"/>
                        </a:lnTo>
                        <a:lnTo>
                          <a:pt x="338" y="431"/>
                        </a:lnTo>
                        <a:lnTo>
                          <a:pt x="338" y="431"/>
                        </a:lnTo>
                        <a:lnTo>
                          <a:pt x="336" y="431"/>
                        </a:lnTo>
                        <a:lnTo>
                          <a:pt x="333" y="433"/>
                        </a:lnTo>
                        <a:lnTo>
                          <a:pt x="324" y="433"/>
                        </a:lnTo>
                        <a:lnTo>
                          <a:pt x="324" y="433"/>
                        </a:lnTo>
                        <a:lnTo>
                          <a:pt x="321" y="435"/>
                        </a:lnTo>
                        <a:lnTo>
                          <a:pt x="321" y="438"/>
                        </a:lnTo>
                        <a:lnTo>
                          <a:pt x="324" y="438"/>
                        </a:lnTo>
                        <a:lnTo>
                          <a:pt x="324" y="440"/>
                        </a:lnTo>
                        <a:lnTo>
                          <a:pt x="324" y="443"/>
                        </a:lnTo>
                        <a:lnTo>
                          <a:pt x="324" y="443"/>
                        </a:lnTo>
                        <a:lnTo>
                          <a:pt x="324" y="445"/>
                        </a:lnTo>
                        <a:lnTo>
                          <a:pt x="321" y="447"/>
                        </a:lnTo>
                        <a:lnTo>
                          <a:pt x="319" y="447"/>
                        </a:lnTo>
                        <a:lnTo>
                          <a:pt x="319" y="445"/>
                        </a:lnTo>
                        <a:lnTo>
                          <a:pt x="319" y="443"/>
                        </a:lnTo>
                        <a:lnTo>
                          <a:pt x="317" y="435"/>
                        </a:lnTo>
                        <a:lnTo>
                          <a:pt x="317" y="435"/>
                        </a:lnTo>
                        <a:lnTo>
                          <a:pt x="317" y="433"/>
                        </a:lnTo>
                        <a:lnTo>
                          <a:pt x="314" y="431"/>
                        </a:lnTo>
                        <a:lnTo>
                          <a:pt x="314" y="431"/>
                        </a:lnTo>
                        <a:lnTo>
                          <a:pt x="314" y="431"/>
                        </a:lnTo>
                        <a:lnTo>
                          <a:pt x="305" y="426"/>
                        </a:lnTo>
                        <a:lnTo>
                          <a:pt x="302" y="424"/>
                        </a:lnTo>
                        <a:lnTo>
                          <a:pt x="295" y="419"/>
                        </a:lnTo>
                        <a:lnTo>
                          <a:pt x="293" y="414"/>
                        </a:lnTo>
                        <a:lnTo>
                          <a:pt x="293" y="412"/>
                        </a:lnTo>
                        <a:lnTo>
                          <a:pt x="293" y="407"/>
                        </a:lnTo>
                        <a:lnTo>
                          <a:pt x="293" y="407"/>
                        </a:lnTo>
                        <a:lnTo>
                          <a:pt x="291" y="405"/>
                        </a:lnTo>
                        <a:lnTo>
                          <a:pt x="291" y="402"/>
                        </a:lnTo>
                        <a:lnTo>
                          <a:pt x="288" y="402"/>
                        </a:lnTo>
                        <a:lnTo>
                          <a:pt x="288" y="400"/>
                        </a:lnTo>
                        <a:lnTo>
                          <a:pt x="288" y="398"/>
                        </a:lnTo>
                        <a:lnTo>
                          <a:pt x="288" y="395"/>
                        </a:lnTo>
                        <a:lnTo>
                          <a:pt x="288" y="393"/>
                        </a:lnTo>
                        <a:lnTo>
                          <a:pt x="288" y="393"/>
                        </a:lnTo>
                        <a:lnTo>
                          <a:pt x="288" y="391"/>
                        </a:lnTo>
                        <a:lnTo>
                          <a:pt x="286" y="386"/>
                        </a:lnTo>
                        <a:lnTo>
                          <a:pt x="284" y="381"/>
                        </a:lnTo>
                        <a:lnTo>
                          <a:pt x="284" y="376"/>
                        </a:lnTo>
                        <a:lnTo>
                          <a:pt x="284" y="369"/>
                        </a:lnTo>
                        <a:lnTo>
                          <a:pt x="284" y="367"/>
                        </a:lnTo>
                        <a:lnTo>
                          <a:pt x="281" y="365"/>
                        </a:lnTo>
                        <a:lnTo>
                          <a:pt x="279" y="360"/>
                        </a:lnTo>
                        <a:lnTo>
                          <a:pt x="274" y="355"/>
                        </a:lnTo>
                        <a:lnTo>
                          <a:pt x="272" y="353"/>
                        </a:lnTo>
                        <a:lnTo>
                          <a:pt x="269" y="353"/>
                        </a:lnTo>
                        <a:lnTo>
                          <a:pt x="265" y="353"/>
                        </a:lnTo>
                        <a:lnTo>
                          <a:pt x="265" y="350"/>
                        </a:lnTo>
                        <a:lnTo>
                          <a:pt x="262" y="350"/>
                        </a:lnTo>
                        <a:lnTo>
                          <a:pt x="260" y="346"/>
                        </a:lnTo>
                        <a:lnTo>
                          <a:pt x="260" y="346"/>
                        </a:lnTo>
                        <a:lnTo>
                          <a:pt x="260" y="343"/>
                        </a:lnTo>
                        <a:lnTo>
                          <a:pt x="262" y="341"/>
                        </a:lnTo>
                        <a:lnTo>
                          <a:pt x="262" y="341"/>
                        </a:lnTo>
                        <a:lnTo>
                          <a:pt x="265" y="336"/>
                        </a:lnTo>
                        <a:lnTo>
                          <a:pt x="265" y="336"/>
                        </a:lnTo>
                        <a:lnTo>
                          <a:pt x="265" y="334"/>
                        </a:lnTo>
                        <a:lnTo>
                          <a:pt x="265" y="334"/>
                        </a:lnTo>
                        <a:lnTo>
                          <a:pt x="265" y="331"/>
                        </a:lnTo>
                        <a:lnTo>
                          <a:pt x="265" y="329"/>
                        </a:lnTo>
                        <a:lnTo>
                          <a:pt x="265" y="327"/>
                        </a:lnTo>
                        <a:lnTo>
                          <a:pt x="265" y="324"/>
                        </a:lnTo>
                        <a:lnTo>
                          <a:pt x="262" y="317"/>
                        </a:lnTo>
                        <a:lnTo>
                          <a:pt x="243" y="294"/>
                        </a:lnTo>
                        <a:lnTo>
                          <a:pt x="241" y="291"/>
                        </a:lnTo>
                        <a:lnTo>
                          <a:pt x="239" y="286"/>
                        </a:lnTo>
                        <a:lnTo>
                          <a:pt x="239" y="282"/>
                        </a:lnTo>
                        <a:lnTo>
                          <a:pt x="236" y="275"/>
                        </a:lnTo>
                        <a:lnTo>
                          <a:pt x="236" y="275"/>
                        </a:lnTo>
                        <a:lnTo>
                          <a:pt x="236" y="272"/>
                        </a:lnTo>
                        <a:lnTo>
                          <a:pt x="222" y="256"/>
                        </a:lnTo>
                        <a:lnTo>
                          <a:pt x="220" y="253"/>
                        </a:lnTo>
                        <a:lnTo>
                          <a:pt x="220" y="251"/>
                        </a:lnTo>
                        <a:lnTo>
                          <a:pt x="220" y="249"/>
                        </a:lnTo>
                        <a:lnTo>
                          <a:pt x="220" y="239"/>
                        </a:lnTo>
                        <a:lnTo>
                          <a:pt x="220" y="234"/>
                        </a:lnTo>
                        <a:lnTo>
                          <a:pt x="220" y="232"/>
                        </a:lnTo>
                        <a:lnTo>
                          <a:pt x="217" y="230"/>
                        </a:lnTo>
                        <a:lnTo>
                          <a:pt x="217" y="225"/>
                        </a:lnTo>
                        <a:lnTo>
                          <a:pt x="217" y="223"/>
                        </a:lnTo>
                        <a:lnTo>
                          <a:pt x="217" y="215"/>
                        </a:lnTo>
                        <a:lnTo>
                          <a:pt x="210" y="218"/>
                        </a:lnTo>
                        <a:lnTo>
                          <a:pt x="203" y="220"/>
                        </a:lnTo>
                        <a:lnTo>
                          <a:pt x="203" y="223"/>
                        </a:lnTo>
                        <a:lnTo>
                          <a:pt x="201" y="223"/>
                        </a:lnTo>
                        <a:lnTo>
                          <a:pt x="201" y="227"/>
                        </a:lnTo>
                        <a:lnTo>
                          <a:pt x="198" y="230"/>
                        </a:lnTo>
                        <a:lnTo>
                          <a:pt x="196" y="230"/>
                        </a:lnTo>
                        <a:lnTo>
                          <a:pt x="196" y="230"/>
                        </a:lnTo>
                        <a:lnTo>
                          <a:pt x="191" y="230"/>
                        </a:lnTo>
                        <a:lnTo>
                          <a:pt x="187" y="227"/>
                        </a:lnTo>
                        <a:lnTo>
                          <a:pt x="184" y="227"/>
                        </a:lnTo>
                        <a:lnTo>
                          <a:pt x="182" y="230"/>
                        </a:lnTo>
                        <a:lnTo>
                          <a:pt x="182" y="230"/>
                        </a:lnTo>
                        <a:lnTo>
                          <a:pt x="179" y="230"/>
                        </a:lnTo>
                        <a:lnTo>
                          <a:pt x="177" y="234"/>
                        </a:lnTo>
                        <a:lnTo>
                          <a:pt x="175" y="237"/>
                        </a:lnTo>
                        <a:lnTo>
                          <a:pt x="175" y="237"/>
                        </a:lnTo>
                        <a:lnTo>
                          <a:pt x="172" y="237"/>
                        </a:lnTo>
                        <a:lnTo>
                          <a:pt x="139" y="206"/>
                        </a:lnTo>
                        <a:lnTo>
                          <a:pt x="132" y="204"/>
                        </a:lnTo>
                        <a:lnTo>
                          <a:pt x="118" y="199"/>
                        </a:lnTo>
                        <a:lnTo>
                          <a:pt x="113" y="199"/>
                        </a:lnTo>
                        <a:lnTo>
                          <a:pt x="111" y="199"/>
                        </a:lnTo>
                        <a:lnTo>
                          <a:pt x="111" y="199"/>
                        </a:lnTo>
                        <a:lnTo>
                          <a:pt x="111" y="201"/>
                        </a:lnTo>
                        <a:lnTo>
                          <a:pt x="108" y="204"/>
                        </a:lnTo>
                        <a:lnTo>
                          <a:pt x="108" y="204"/>
                        </a:lnTo>
                        <a:lnTo>
                          <a:pt x="106" y="206"/>
                        </a:lnTo>
                        <a:lnTo>
                          <a:pt x="104" y="206"/>
                        </a:lnTo>
                        <a:lnTo>
                          <a:pt x="99" y="206"/>
                        </a:lnTo>
                        <a:lnTo>
                          <a:pt x="80" y="201"/>
                        </a:lnTo>
                        <a:lnTo>
                          <a:pt x="78" y="199"/>
                        </a:lnTo>
                        <a:lnTo>
                          <a:pt x="75" y="199"/>
                        </a:lnTo>
                        <a:lnTo>
                          <a:pt x="75" y="197"/>
                        </a:lnTo>
                        <a:lnTo>
                          <a:pt x="73" y="197"/>
                        </a:lnTo>
                        <a:lnTo>
                          <a:pt x="73" y="194"/>
                        </a:lnTo>
                        <a:lnTo>
                          <a:pt x="73" y="194"/>
                        </a:lnTo>
                        <a:lnTo>
                          <a:pt x="75" y="192"/>
                        </a:lnTo>
                        <a:lnTo>
                          <a:pt x="75" y="192"/>
                        </a:lnTo>
                        <a:lnTo>
                          <a:pt x="78" y="192"/>
                        </a:lnTo>
                        <a:lnTo>
                          <a:pt x="82" y="192"/>
                        </a:lnTo>
                        <a:lnTo>
                          <a:pt x="85" y="192"/>
                        </a:lnTo>
                        <a:lnTo>
                          <a:pt x="85" y="192"/>
                        </a:lnTo>
                        <a:lnTo>
                          <a:pt x="87" y="189"/>
                        </a:lnTo>
                        <a:lnTo>
                          <a:pt x="87" y="189"/>
                        </a:lnTo>
                        <a:lnTo>
                          <a:pt x="87" y="187"/>
                        </a:lnTo>
                        <a:lnTo>
                          <a:pt x="87" y="185"/>
                        </a:lnTo>
                        <a:lnTo>
                          <a:pt x="87" y="185"/>
                        </a:lnTo>
                        <a:lnTo>
                          <a:pt x="87" y="182"/>
                        </a:lnTo>
                        <a:lnTo>
                          <a:pt x="87" y="182"/>
                        </a:lnTo>
                        <a:lnTo>
                          <a:pt x="87" y="180"/>
                        </a:lnTo>
                        <a:lnTo>
                          <a:pt x="87" y="178"/>
                        </a:lnTo>
                        <a:lnTo>
                          <a:pt x="87" y="175"/>
                        </a:lnTo>
                        <a:lnTo>
                          <a:pt x="87" y="173"/>
                        </a:lnTo>
                        <a:lnTo>
                          <a:pt x="87" y="171"/>
                        </a:lnTo>
                        <a:lnTo>
                          <a:pt x="87" y="171"/>
                        </a:lnTo>
                        <a:lnTo>
                          <a:pt x="87" y="168"/>
                        </a:lnTo>
                        <a:lnTo>
                          <a:pt x="85" y="168"/>
                        </a:lnTo>
                        <a:lnTo>
                          <a:pt x="85" y="168"/>
                        </a:lnTo>
                        <a:lnTo>
                          <a:pt x="73" y="175"/>
                        </a:lnTo>
                        <a:lnTo>
                          <a:pt x="71" y="175"/>
                        </a:lnTo>
                        <a:lnTo>
                          <a:pt x="71" y="175"/>
                        </a:lnTo>
                        <a:lnTo>
                          <a:pt x="71" y="178"/>
                        </a:lnTo>
                        <a:lnTo>
                          <a:pt x="68" y="180"/>
                        </a:lnTo>
                        <a:lnTo>
                          <a:pt x="68" y="182"/>
                        </a:lnTo>
                        <a:lnTo>
                          <a:pt x="66" y="182"/>
                        </a:lnTo>
                        <a:lnTo>
                          <a:pt x="63" y="182"/>
                        </a:lnTo>
                        <a:lnTo>
                          <a:pt x="59" y="180"/>
                        </a:lnTo>
                        <a:lnTo>
                          <a:pt x="52" y="178"/>
                        </a:lnTo>
                        <a:lnTo>
                          <a:pt x="49" y="178"/>
                        </a:lnTo>
                        <a:lnTo>
                          <a:pt x="47" y="178"/>
                        </a:lnTo>
                        <a:lnTo>
                          <a:pt x="42" y="178"/>
                        </a:lnTo>
                        <a:lnTo>
                          <a:pt x="42" y="178"/>
                        </a:lnTo>
                        <a:lnTo>
                          <a:pt x="40" y="175"/>
                        </a:lnTo>
                        <a:lnTo>
                          <a:pt x="35" y="166"/>
                        </a:lnTo>
                        <a:lnTo>
                          <a:pt x="35" y="163"/>
                        </a:lnTo>
                        <a:lnTo>
                          <a:pt x="35" y="161"/>
                        </a:lnTo>
                        <a:lnTo>
                          <a:pt x="35" y="161"/>
                        </a:lnTo>
                        <a:lnTo>
                          <a:pt x="40" y="159"/>
                        </a:lnTo>
                        <a:lnTo>
                          <a:pt x="42" y="156"/>
                        </a:lnTo>
                        <a:lnTo>
                          <a:pt x="45" y="154"/>
                        </a:lnTo>
                        <a:lnTo>
                          <a:pt x="47" y="147"/>
                        </a:lnTo>
                        <a:lnTo>
                          <a:pt x="49" y="147"/>
                        </a:lnTo>
                        <a:lnTo>
                          <a:pt x="54" y="144"/>
                        </a:lnTo>
                        <a:lnTo>
                          <a:pt x="56" y="142"/>
                        </a:lnTo>
                        <a:lnTo>
                          <a:pt x="59" y="140"/>
                        </a:lnTo>
                        <a:lnTo>
                          <a:pt x="59" y="137"/>
                        </a:lnTo>
                        <a:lnTo>
                          <a:pt x="59" y="133"/>
                        </a:lnTo>
                        <a:lnTo>
                          <a:pt x="61" y="126"/>
                        </a:lnTo>
                        <a:lnTo>
                          <a:pt x="61" y="123"/>
                        </a:lnTo>
                        <a:lnTo>
                          <a:pt x="63" y="123"/>
                        </a:lnTo>
                        <a:lnTo>
                          <a:pt x="63" y="123"/>
                        </a:lnTo>
                        <a:lnTo>
                          <a:pt x="66" y="126"/>
                        </a:lnTo>
                        <a:lnTo>
                          <a:pt x="68" y="140"/>
                        </a:lnTo>
                        <a:lnTo>
                          <a:pt x="68" y="140"/>
                        </a:lnTo>
                        <a:lnTo>
                          <a:pt x="71" y="142"/>
                        </a:lnTo>
                        <a:lnTo>
                          <a:pt x="73" y="142"/>
                        </a:lnTo>
                        <a:lnTo>
                          <a:pt x="73" y="142"/>
                        </a:lnTo>
                        <a:lnTo>
                          <a:pt x="75" y="140"/>
                        </a:lnTo>
                        <a:lnTo>
                          <a:pt x="75" y="135"/>
                        </a:lnTo>
                        <a:lnTo>
                          <a:pt x="80" y="128"/>
                        </a:lnTo>
                        <a:lnTo>
                          <a:pt x="80" y="126"/>
                        </a:lnTo>
                        <a:lnTo>
                          <a:pt x="80" y="123"/>
                        </a:lnTo>
                        <a:lnTo>
                          <a:pt x="61" y="111"/>
                        </a:lnTo>
                        <a:lnTo>
                          <a:pt x="56" y="109"/>
                        </a:lnTo>
                        <a:lnTo>
                          <a:pt x="54" y="107"/>
                        </a:lnTo>
                        <a:lnTo>
                          <a:pt x="52" y="107"/>
                        </a:lnTo>
                        <a:lnTo>
                          <a:pt x="52" y="107"/>
                        </a:lnTo>
                        <a:lnTo>
                          <a:pt x="49" y="107"/>
                        </a:lnTo>
                        <a:lnTo>
                          <a:pt x="49" y="109"/>
                        </a:lnTo>
                        <a:lnTo>
                          <a:pt x="45" y="111"/>
                        </a:lnTo>
                        <a:lnTo>
                          <a:pt x="45" y="111"/>
                        </a:lnTo>
                        <a:lnTo>
                          <a:pt x="42" y="114"/>
                        </a:lnTo>
                        <a:lnTo>
                          <a:pt x="37" y="114"/>
                        </a:lnTo>
                        <a:lnTo>
                          <a:pt x="35" y="114"/>
                        </a:lnTo>
                        <a:lnTo>
                          <a:pt x="33" y="114"/>
                        </a:lnTo>
                        <a:lnTo>
                          <a:pt x="33" y="114"/>
                        </a:lnTo>
                        <a:lnTo>
                          <a:pt x="33" y="116"/>
                        </a:lnTo>
                        <a:lnTo>
                          <a:pt x="30" y="121"/>
                        </a:lnTo>
                        <a:lnTo>
                          <a:pt x="28" y="123"/>
                        </a:lnTo>
                        <a:lnTo>
                          <a:pt x="28" y="123"/>
                        </a:lnTo>
                        <a:lnTo>
                          <a:pt x="26" y="123"/>
                        </a:lnTo>
                        <a:lnTo>
                          <a:pt x="26" y="123"/>
                        </a:lnTo>
                        <a:lnTo>
                          <a:pt x="23" y="123"/>
                        </a:lnTo>
                        <a:lnTo>
                          <a:pt x="21" y="123"/>
                        </a:lnTo>
                        <a:lnTo>
                          <a:pt x="16" y="118"/>
                        </a:lnTo>
                        <a:lnTo>
                          <a:pt x="14" y="118"/>
                        </a:lnTo>
                        <a:lnTo>
                          <a:pt x="11" y="116"/>
                        </a:lnTo>
                        <a:lnTo>
                          <a:pt x="9" y="116"/>
                        </a:lnTo>
                        <a:lnTo>
                          <a:pt x="7" y="118"/>
                        </a:lnTo>
                        <a:lnTo>
                          <a:pt x="4" y="118"/>
                        </a:lnTo>
                        <a:lnTo>
                          <a:pt x="0" y="121"/>
                        </a:lnTo>
                        <a:lnTo>
                          <a:pt x="2" y="104"/>
                        </a:lnTo>
                        <a:lnTo>
                          <a:pt x="2" y="100"/>
                        </a:lnTo>
                        <a:lnTo>
                          <a:pt x="7" y="92"/>
                        </a:lnTo>
                        <a:lnTo>
                          <a:pt x="9" y="88"/>
                        </a:lnTo>
                        <a:lnTo>
                          <a:pt x="9" y="62"/>
                        </a:lnTo>
                        <a:lnTo>
                          <a:pt x="9" y="59"/>
                        </a:lnTo>
                        <a:lnTo>
                          <a:pt x="9" y="52"/>
                        </a:lnTo>
                        <a:lnTo>
                          <a:pt x="7" y="50"/>
                        </a:lnTo>
                        <a:lnTo>
                          <a:pt x="7" y="47"/>
                        </a:lnTo>
                        <a:lnTo>
                          <a:pt x="9" y="45"/>
                        </a:lnTo>
                        <a:lnTo>
                          <a:pt x="9" y="45"/>
                        </a:lnTo>
                        <a:lnTo>
                          <a:pt x="9" y="45"/>
                        </a:lnTo>
                        <a:lnTo>
                          <a:pt x="11" y="45"/>
                        </a:lnTo>
                        <a:lnTo>
                          <a:pt x="16" y="47"/>
                        </a:lnTo>
                        <a:lnTo>
                          <a:pt x="16" y="47"/>
                        </a:lnTo>
                        <a:lnTo>
                          <a:pt x="28" y="45"/>
                        </a:lnTo>
                        <a:lnTo>
                          <a:pt x="28" y="45"/>
                        </a:lnTo>
                        <a:lnTo>
                          <a:pt x="30" y="45"/>
                        </a:lnTo>
                        <a:lnTo>
                          <a:pt x="33" y="45"/>
                        </a:lnTo>
                        <a:lnTo>
                          <a:pt x="45" y="36"/>
                        </a:lnTo>
                        <a:lnTo>
                          <a:pt x="49" y="29"/>
                        </a:lnTo>
                        <a:lnTo>
                          <a:pt x="54" y="26"/>
                        </a:lnTo>
                        <a:lnTo>
                          <a:pt x="56" y="26"/>
                        </a:lnTo>
                        <a:lnTo>
                          <a:pt x="56" y="26"/>
                        </a:lnTo>
                        <a:lnTo>
                          <a:pt x="68" y="19"/>
                        </a:lnTo>
                        <a:lnTo>
                          <a:pt x="73" y="19"/>
                        </a:lnTo>
                        <a:lnTo>
                          <a:pt x="73" y="19"/>
                        </a:lnTo>
                        <a:lnTo>
                          <a:pt x="80" y="21"/>
                        </a:lnTo>
                        <a:lnTo>
                          <a:pt x="78" y="26"/>
                        </a:lnTo>
                        <a:lnTo>
                          <a:pt x="75" y="38"/>
                        </a:lnTo>
                        <a:lnTo>
                          <a:pt x="80" y="45"/>
                        </a:lnTo>
                        <a:lnTo>
                          <a:pt x="90" y="50"/>
                        </a:lnTo>
                        <a:lnTo>
                          <a:pt x="99" y="47"/>
                        </a:lnTo>
                        <a:lnTo>
                          <a:pt x="104" y="36"/>
                        </a:lnTo>
                        <a:lnTo>
                          <a:pt x="104" y="36"/>
                        </a:lnTo>
                        <a:lnTo>
                          <a:pt x="104" y="33"/>
                        </a:lnTo>
                        <a:lnTo>
                          <a:pt x="104" y="33"/>
                        </a:lnTo>
                        <a:lnTo>
                          <a:pt x="104" y="31"/>
                        </a:lnTo>
                        <a:lnTo>
                          <a:pt x="104" y="31"/>
                        </a:lnTo>
                        <a:lnTo>
                          <a:pt x="108" y="33"/>
                        </a:lnTo>
                        <a:lnTo>
                          <a:pt x="123" y="38"/>
                        </a:lnTo>
                        <a:lnTo>
                          <a:pt x="123" y="38"/>
                        </a:lnTo>
                        <a:lnTo>
                          <a:pt x="125" y="40"/>
                        </a:lnTo>
                        <a:lnTo>
                          <a:pt x="125" y="43"/>
                        </a:lnTo>
                        <a:lnTo>
                          <a:pt x="125" y="45"/>
                        </a:lnTo>
                        <a:lnTo>
                          <a:pt x="127" y="47"/>
                        </a:lnTo>
                        <a:lnTo>
                          <a:pt x="127" y="50"/>
                        </a:lnTo>
                        <a:lnTo>
                          <a:pt x="130" y="50"/>
                        </a:lnTo>
                        <a:lnTo>
                          <a:pt x="130" y="50"/>
                        </a:lnTo>
                        <a:lnTo>
                          <a:pt x="132" y="50"/>
                        </a:lnTo>
                        <a:lnTo>
                          <a:pt x="132" y="47"/>
                        </a:lnTo>
                        <a:lnTo>
                          <a:pt x="132" y="47"/>
                        </a:lnTo>
                        <a:lnTo>
                          <a:pt x="132" y="45"/>
                        </a:lnTo>
                        <a:lnTo>
                          <a:pt x="132" y="43"/>
                        </a:lnTo>
                        <a:lnTo>
                          <a:pt x="134" y="43"/>
                        </a:lnTo>
                        <a:lnTo>
                          <a:pt x="137" y="40"/>
                        </a:lnTo>
                        <a:lnTo>
                          <a:pt x="137" y="40"/>
                        </a:lnTo>
                        <a:lnTo>
                          <a:pt x="139" y="40"/>
                        </a:lnTo>
                        <a:lnTo>
                          <a:pt x="142" y="43"/>
                        </a:lnTo>
                        <a:lnTo>
                          <a:pt x="144" y="47"/>
                        </a:lnTo>
                        <a:lnTo>
                          <a:pt x="144" y="50"/>
                        </a:lnTo>
                        <a:lnTo>
                          <a:pt x="149" y="55"/>
                        </a:lnTo>
                        <a:lnTo>
                          <a:pt x="149" y="57"/>
                        </a:lnTo>
                        <a:lnTo>
                          <a:pt x="151" y="59"/>
                        </a:lnTo>
                        <a:lnTo>
                          <a:pt x="153" y="59"/>
                        </a:lnTo>
                        <a:lnTo>
                          <a:pt x="156" y="59"/>
                        </a:lnTo>
                        <a:lnTo>
                          <a:pt x="165" y="59"/>
                        </a:lnTo>
                        <a:lnTo>
                          <a:pt x="168" y="57"/>
                        </a:lnTo>
                        <a:lnTo>
                          <a:pt x="168" y="57"/>
                        </a:lnTo>
                        <a:lnTo>
                          <a:pt x="170" y="57"/>
                        </a:lnTo>
                        <a:lnTo>
                          <a:pt x="170" y="55"/>
                        </a:lnTo>
                        <a:lnTo>
                          <a:pt x="170" y="52"/>
                        </a:lnTo>
                        <a:lnTo>
                          <a:pt x="170" y="50"/>
                        </a:lnTo>
                        <a:lnTo>
                          <a:pt x="172" y="50"/>
                        </a:lnTo>
                        <a:lnTo>
                          <a:pt x="172" y="47"/>
                        </a:lnTo>
                        <a:lnTo>
                          <a:pt x="172" y="47"/>
                        </a:lnTo>
                        <a:lnTo>
                          <a:pt x="179" y="43"/>
                        </a:lnTo>
                        <a:lnTo>
                          <a:pt x="179" y="43"/>
                        </a:lnTo>
                        <a:lnTo>
                          <a:pt x="182" y="40"/>
                        </a:lnTo>
                        <a:lnTo>
                          <a:pt x="182" y="38"/>
                        </a:lnTo>
                        <a:lnTo>
                          <a:pt x="184" y="31"/>
                        </a:lnTo>
                        <a:lnTo>
                          <a:pt x="184" y="31"/>
                        </a:lnTo>
                        <a:lnTo>
                          <a:pt x="184" y="29"/>
                        </a:lnTo>
                        <a:lnTo>
                          <a:pt x="182" y="29"/>
                        </a:lnTo>
                        <a:lnTo>
                          <a:pt x="182" y="24"/>
                        </a:lnTo>
                        <a:lnTo>
                          <a:pt x="182" y="24"/>
                        </a:lnTo>
                        <a:lnTo>
                          <a:pt x="179" y="21"/>
                        </a:lnTo>
                        <a:lnTo>
                          <a:pt x="179" y="19"/>
                        </a:lnTo>
                        <a:lnTo>
                          <a:pt x="179" y="19"/>
                        </a:lnTo>
                        <a:lnTo>
                          <a:pt x="179" y="14"/>
                        </a:lnTo>
                        <a:lnTo>
                          <a:pt x="182" y="5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40" name="Freeform 41">
                    <a:extLst>
                      <a:ext uri="{FF2B5EF4-FFF2-40B4-BE49-F238E27FC236}">
                        <a16:creationId xmlns:a16="http://schemas.microsoft.com/office/drawing/2014/main" id="{C937C9EA-F19B-4427-A7A6-1DD95B398C8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684340" y="3062586"/>
                    <a:ext cx="543530" cy="658585"/>
                  </a:xfrm>
                  <a:custGeom>
                    <a:avLst/>
                    <a:gdLst>
                      <a:gd name="T0" fmla="*/ 414 w 428"/>
                      <a:gd name="T1" fmla="*/ 343 h 518"/>
                      <a:gd name="T2" fmla="*/ 409 w 428"/>
                      <a:gd name="T3" fmla="*/ 367 h 518"/>
                      <a:gd name="T4" fmla="*/ 390 w 428"/>
                      <a:gd name="T5" fmla="*/ 381 h 518"/>
                      <a:gd name="T6" fmla="*/ 367 w 428"/>
                      <a:gd name="T7" fmla="*/ 386 h 518"/>
                      <a:gd name="T8" fmla="*/ 327 w 428"/>
                      <a:gd name="T9" fmla="*/ 412 h 518"/>
                      <a:gd name="T10" fmla="*/ 298 w 428"/>
                      <a:gd name="T11" fmla="*/ 450 h 518"/>
                      <a:gd name="T12" fmla="*/ 284 w 428"/>
                      <a:gd name="T13" fmla="*/ 462 h 518"/>
                      <a:gd name="T14" fmla="*/ 272 w 428"/>
                      <a:gd name="T15" fmla="*/ 480 h 518"/>
                      <a:gd name="T16" fmla="*/ 253 w 428"/>
                      <a:gd name="T17" fmla="*/ 480 h 518"/>
                      <a:gd name="T18" fmla="*/ 251 w 428"/>
                      <a:gd name="T19" fmla="*/ 504 h 518"/>
                      <a:gd name="T20" fmla="*/ 225 w 428"/>
                      <a:gd name="T21" fmla="*/ 511 h 518"/>
                      <a:gd name="T22" fmla="*/ 206 w 428"/>
                      <a:gd name="T23" fmla="*/ 502 h 518"/>
                      <a:gd name="T24" fmla="*/ 194 w 428"/>
                      <a:gd name="T25" fmla="*/ 495 h 518"/>
                      <a:gd name="T26" fmla="*/ 144 w 428"/>
                      <a:gd name="T27" fmla="*/ 462 h 518"/>
                      <a:gd name="T28" fmla="*/ 130 w 428"/>
                      <a:gd name="T29" fmla="*/ 426 h 518"/>
                      <a:gd name="T30" fmla="*/ 97 w 428"/>
                      <a:gd name="T31" fmla="*/ 409 h 518"/>
                      <a:gd name="T32" fmla="*/ 73 w 428"/>
                      <a:gd name="T33" fmla="*/ 421 h 518"/>
                      <a:gd name="T34" fmla="*/ 36 w 428"/>
                      <a:gd name="T35" fmla="*/ 409 h 518"/>
                      <a:gd name="T36" fmla="*/ 38 w 428"/>
                      <a:gd name="T37" fmla="*/ 388 h 518"/>
                      <a:gd name="T38" fmla="*/ 31 w 428"/>
                      <a:gd name="T39" fmla="*/ 374 h 518"/>
                      <a:gd name="T40" fmla="*/ 24 w 428"/>
                      <a:gd name="T41" fmla="*/ 324 h 518"/>
                      <a:gd name="T42" fmla="*/ 19 w 428"/>
                      <a:gd name="T43" fmla="*/ 284 h 518"/>
                      <a:gd name="T44" fmla="*/ 21 w 428"/>
                      <a:gd name="T45" fmla="*/ 253 h 518"/>
                      <a:gd name="T46" fmla="*/ 7 w 428"/>
                      <a:gd name="T47" fmla="*/ 253 h 518"/>
                      <a:gd name="T48" fmla="*/ 0 w 428"/>
                      <a:gd name="T49" fmla="*/ 230 h 518"/>
                      <a:gd name="T50" fmla="*/ 24 w 428"/>
                      <a:gd name="T51" fmla="*/ 192 h 518"/>
                      <a:gd name="T52" fmla="*/ 40 w 428"/>
                      <a:gd name="T53" fmla="*/ 170 h 518"/>
                      <a:gd name="T54" fmla="*/ 54 w 428"/>
                      <a:gd name="T55" fmla="*/ 161 h 518"/>
                      <a:gd name="T56" fmla="*/ 76 w 428"/>
                      <a:gd name="T57" fmla="*/ 135 h 518"/>
                      <a:gd name="T58" fmla="*/ 66 w 428"/>
                      <a:gd name="T59" fmla="*/ 144 h 518"/>
                      <a:gd name="T60" fmla="*/ 52 w 428"/>
                      <a:gd name="T61" fmla="*/ 123 h 518"/>
                      <a:gd name="T62" fmla="*/ 31 w 428"/>
                      <a:gd name="T63" fmla="*/ 104 h 518"/>
                      <a:gd name="T64" fmla="*/ 19 w 428"/>
                      <a:gd name="T65" fmla="*/ 95 h 518"/>
                      <a:gd name="T66" fmla="*/ 43 w 428"/>
                      <a:gd name="T67" fmla="*/ 71 h 518"/>
                      <a:gd name="T68" fmla="*/ 31 w 428"/>
                      <a:gd name="T69" fmla="*/ 57 h 518"/>
                      <a:gd name="T70" fmla="*/ 57 w 428"/>
                      <a:gd name="T71" fmla="*/ 7 h 518"/>
                      <a:gd name="T72" fmla="*/ 85 w 428"/>
                      <a:gd name="T73" fmla="*/ 14 h 518"/>
                      <a:gd name="T74" fmla="*/ 104 w 428"/>
                      <a:gd name="T75" fmla="*/ 3 h 518"/>
                      <a:gd name="T76" fmla="*/ 104 w 428"/>
                      <a:gd name="T77" fmla="*/ 17 h 518"/>
                      <a:gd name="T78" fmla="*/ 92 w 428"/>
                      <a:gd name="T79" fmla="*/ 24 h 518"/>
                      <a:gd name="T80" fmla="*/ 121 w 428"/>
                      <a:gd name="T81" fmla="*/ 38 h 518"/>
                      <a:gd name="T82" fmla="*/ 149 w 428"/>
                      <a:gd name="T83" fmla="*/ 36 h 518"/>
                      <a:gd name="T84" fmla="*/ 201 w 428"/>
                      <a:gd name="T85" fmla="*/ 59 h 518"/>
                      <a:gd name="T86" fmla="*/ 220 w 428"/>
                      <a:gd name="T87" fmla="*/ 52 h 518"/>
                      <a:gd name="T88" fmla="*/ 237 w 428"/>
                      <a:gd name="T89" fmla="*/ 81 h 518"/>
                      <a:gd name="T90" fmla="*/ 258 w 428"/>
                      <a:gd name="T91" fmla="*/ 123 h 518"/>
                      <a:gd name="T92" fmla="*/ 282 w 428"/>
                      <a:gd name="T93" fmla="*/ 168 h 518"/>
                      <a:gd name="T94" fmla="*/ 282 w 428"/>
                      <a:gd name="T95" fmla="*/ 185 h 518"/>
                      <a:gd name="T96" fmla="*/ 301 w 428"/>
                      <a:gd name="T97" fmla="*/ 213 h 518"/>
                      <a:gd name="T98" fmla="*/ 308 w 428"/>
                      <a:gd name="T99" fmla="*/ 234 h 518"/>
                      <a:gd name="T100" fmla="*/ 331 w 428"/>
                      <a:gd name="T101" fmla="*/ 263 h 518"/>
                      <a:gd name="T102" fmla="*/ 338 w 428"/>
                      <a:gd name="T103" fmla="*/ 279 h 518"/>
                      <a:gd name="T104" fmla="*/ 341 w 428"/>
                      <a:gd name="T105" fmla="*/ 265 h 518"/>
                      <a:gd name="T106" fmla="*/ 376 w 428"/>
                      <a:gd name="T107" fmla="*/ 275 h 518"/>
                      <a:gd name="T108" fmla="*/ 400 w 428"/>
                      <a:gd name="T109" fmla="*/ 296 h 518"/>
                      <a:gd name="T110" fmla="*/ 428 w 428"/>
                      <a:gd name="T111" fmla="*/ 301 h 518"/>
                      <a:gd name="T112" fmla="*/ 419 w 428"/>
                      <a:gd name="T113" fmla="*/ 322 h 51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428" h="518">
                        <a:moveTo>
                          <a:pt x="414" y="322"/>
                        </a:moveTo>
                        <a:lnTo>
                          <a:pt x="414" y="322"/>
                        </a:lnTo>
                        <a:lnTo>
                          <a:pt x="414" y="327"/>
                        </a:lnTo>
                        <a:lnTo>
                          <a:pt x="414" y="331"/>
                        </a:lnTo>
                        <a:lnTo>
                          <a:pt x="412" y="336"/>
                        </a:lnTo>
                        <a:lnTo>
                          <a:pt x="412" y="338"/>
                        </a:lnTo>
                        <a:lnTo>
                          <a:pt x="412" y="341"/>
                        </a:lnTo>
                        <a:lnTo>
                          <a:pt x="412" y="343"/>
                        </a:lnTo>
                        <a:lnTo>
                          <a:pt x="414" y="343"/>
                        </a:lnTo>
                        <a:lnTo>
                          <a:pt x="414" y="346"/>
                        </a:lnTo>
                        <a:lnTo>
                          <a:pt x="414" y="348"/>
                        </a:lnTo>
                        <a:lnTo>
                          <a:pt x="416" y="350"/>
                        </a:lnTo>
                        <a:lnTo>
                          <a:pt x="414" y="350"/>
                        </a:lnTo>
                        <a:lnTo>
                          <a:pt x="414" y="353"/>
                        </a:lnTo>
                        <a:lnTo>
                          <a:pt x="412" y="357"/>
                        </a:lnTo>
                        <a:lnTo>
                          <a:pt x="412" y="360"/>
                        </a:lnTo>
                        <a:lnTo>
                          <a:pt x="409" y="362"/>
                        </a:lnTo>
                        <a:lnTo>
                          <a:pt x="409" y="367"/>
                        </a:lnTo>
                        <a:lnTo>
                          <a:pt x="409" y="369"/>
                        </a:lnTo>
                        <a:lnTo>
                          <a:pt x="409" y="372"/>
                        </a:lnTo>
                        <a:lnTo>
                          <a:pt x="407" y="372"/>
                        </a:lnTo>
                        <a:lnTo>
                          <a:pt x="407" y="374"/>
                        </a:lnTo>
                        <a:lnTo>
                          <a:pt x="405" y="374"/>
                        </a:lnTo>
                        <a:lnTo>
                          <a:pt x="400" y="374"/>
                        </a:lnTo>
                        <a:lnTo>
                          <a:pt x="398" y="374"/>
                        </a:lnTo>
                        <a:lnTo>
                          <a:pt x="395" y="374"/>
                        </a:lnTo>
                        <a:lnTo>
                          <a:pt x="390" y="381"/>
                        </a:lnTo>
                        <a:lnTo>
                          <a:pt x="390" y="381"/>
                        </a:lnTo>
                        <a:lnTo>
                          <a:pt x="381" y="386"/>
                        </a:lnTo>
                        <a:lnTo>
                          <a:pt x="379" y="386"/>
                        </a:lnTo>
                        <a:lnTo>
                          <a:pt x="374" y="386"/>
                        </a:lnTo>
                        <a:lnTo>
                          <a:pt x="374" y="386"/>
                        </a:lnTo>
                        <a:lnTo>
                          <a:pt x="369" y="383"/>
                        </a:lnTo>
                        <a:lnTo>
                          <a:pt x="369" y="383"/>
                        </a:lnTo>
                        <a:lnTo>
                          <a:pt x="367" y="383"/>
                        </a:lnTo>
                        <a:lnTo>
                          <a:pt x="367" y="386"/>
                        </a:lnTo>
                        <a:lnTo>
                          <a:pt x="364" y="388"/>
                        </a:lnTo>
                        <a:lnTo>
                          <a:pt x="364" y="393"/>
                        </a:lnTo>
                        <a:lnTo>
                          <a:pt x="364" y="393"/>
                        </a:lnTo>
                        <a:lnTo>
                          <a:pt x="364" y="395"/>
                        </a:lnTo>
                        <a:lnTo>
                          <a:pt x="362" y="395"/>
                        </a:lnTo>
                        <a:lnTo>
                          <a:pt x="360" y="395"/>
                        </a:lnTo>
                        <a:lnTo>
                          <a:pt x="334" y="400"/>
                        </a:lnTo>
                        <a:lnTo>
                          <a:pt x="327" y="409"/>
                        </a:lnTo>
                        <a:lnTo>
                          <a:pt x="327" y="412"/>
                        </a:lnTo>
                        <a:lnTo>
                          <a:pt x="329" y="414"/>
                        </a:lnTo>
                        <a:lnTo>
                          <a:pt x="329" y="414"/>
                        </a:lnTo>
                        <a:lnTo>
                          <a:pt x="329" y="417"/>
                        </a:lnTo>
                        <a:lnTo>
                          <a:pt x="329" y="419"/>
                        </a:lnTo>
                        <a:lnTo>
                          <a:pt x="329" y="419"/>
                        </a:lnTo>
                        <a:lnTo>
                          <a:pt x="327" y="421"/>
                        </a:lnTo>
                        <a:lnTo>
                          <a:pt x="301" y="440"/>
                        </a:lnTo>
                        <a:lnTo>
                          <a:pt x="301" y="443"/>
                        </a:lnTo>
                        <a:lnTo>
                          <a:pt x="298" y="450"/>
                        </a:lnTo>
                        <a:lnTo>
                          <a:pt x="298" y="450"/>
                        </a:lnTo>
                        <a:lnTo>
                          <a:pt x="296" y="452"/>
                        </a:lnTo>
                        <a:lnTo>
                          <a:pt x="296" y="452"/>
                        </a:lnTo>
                        <a:lnTo>
                          <a:pt x="296" y="452"/>
                        </a:lnTo>
                        <a:lnTo>
                          <a:pt x="284" y="457"/>
                        </a:lnTo>
                        <a:lnTo>
                          <a:pt x="284" y="457"/>
                        </a:lnTo>
                        <a:lnTo>
                          <a:pt x="284" y="459"/>
                        </a:lnTo>
                        <a:lnTo>
                          <a:pt x="284" y="462"/>
                        </a:lnTo>
                        <a:lnTo>
                          <a:pt x="284" y="462"/>
                        </a:lnTo>
                        <a:lnTo>
                          <a:pt x="289" y="466"/>
                        </a:lnTo>
                        <a:lnTo>
                          <a:pt x="289" y="469"/>
                        </a:lnTo>
                        <a:lnTo>
                          <a:pt x="289" y="471"/>
                        </a:lnTo>
                        <a:lnTo>
                          <a:pt x="289" y="471"/>
                        </a:lnTo>
                        <a:lnTo>
                          <a:pt x="289" y="473"/>
                        </a:lnTo>
                        <a:lnTo>
                          <a:pt x="289" y="473"/>
                        </a:lnTo>
                        <a:lnTo>
                          <a:pt x="286" y="476"/>
                        </a:lnTo>
                        <a:lnTo>
                          <a:pt x="282" y="478"/>
                        </a:lnTo>
                        <a:lnTo>
                          <a:pt x="272" y="480"/>
                        </a:lnTo>
                        <a:lnTo>
                          <a:pt x="267" y="483"/>
                        </a:lnTo>
                        <a:lnTo>
                          <a:pt x="265" y="480"/>
                        </a:lnTo>
                        <a:lnTo>
                          <a:pt x="258" y="476"/>
                        </a:lnTo>
                        <a:lnTo>
                          <a:pt x="258" y="473"/>
                        </a:lnTo>
                        <a:lnTo>
                          <a:pt x="256" y="473"/>
                        </a:lnTo>
                        <a:lnTo>
                          <a:pt x="256" y="473"/>
                        </a:lnTo>
                        <a:lnTo>
                          <a:pt x="253" y="476"/>
                        </a:lnTo>
                        <a:lnTo>
                          <a:pt x="253" y="478"/>
                        </a:lnTo>
                        <a:lnTo>
                          <a:pt x="253" y="480"/>
                        </a:lnTo>
                        <a:lnTo>
                          <a:pt x="253" y="483"/>
                        </a:lnTo>
                        <a:lnTo>
                          <a:pt x="253" y="483"/>
                        </a:lnTo>
                        <a:lnTo>
                          <a:pt x="256" y="485"/>
                        </a:lnTo>
                        <a:lnTo>
                          <a:pt x="256" y="485"/>
                        </a:lnTo>
                        <a:lnTo>
                          <a:pt x="256" y="488"/>
                        </a:lnTo>
                        <a:lnTo>
                          <a:pt x="256" y="492"/>
                        </a:lnTo>
                        <a:lnTo>
                          <a:pt x="253" y="497"/>
                        </a:lnTo>
                        <a:lnTo>
                          <a:pt x="251" y="502"/>
                        </a:lnTo>
                        <a:lnTo>
                          <a:pt x="251" y="504"/>
                        </a:lnTo>
                        <a:lnTo>
                          <a:pt x="246" y="509"/>
                        </a:lnTo>
                        <a:lnTo>
                          <a:pt x="239" y="514"/>
                        </a:lnTo>
                        <a:lnTo>
                          <a:pt x="237" y="518"/>
                        </a:lnTo>
                        <a:lnTo>
                          <a:pt x="234" y="518"/>
                        </a:lnTo>
                        <a:lnTo>
                          <a:pt x="234" y="518"/>
                        </a:lnTo>
                        <a:lnTo>
                          <a:pt x="232" y="516"/>
                        </a:lnTo>
                        <a:lnTo>
                          <a:pt x="230" y="511"/>
                        </a:lnTo>
                        <a:lnTo>
                          <a:pt x="227" y="511"/>
                        </a:lnTo>
                        <a:lnTo>
                          <a:pt x="225" y="511"/>
                        </a:lnTo>
                        <a:lnTo>
                          <a:pt x="213" y="516"/>
                        </a:lnTo>
                        <a:lnTo>
                          <a:pt x="211" y="514"/>
                        </a:lnTo>
                        <a:lnTo>
                          <a:pt x="208" y="516"/>
                        </a:lnTo>
                        <a:lnTo>
                          <a:pt x="204" y="516"/>
                        </a:lnTo>
                        <a:lnTo>
                          <a:pt x="201" y="514"/>
                        </a:lnTo>
                        <a:lnTo>
                          <a:pt x="204" y="509"/>
                        </a:lnTo>
                        <a:lnTo>
                          <a:pt x="206" y="506"/>
                        </a:lnTo>
                        <a:lnTo>
                          <a:pt x="206" y="504"/>
                        </a:lnTo>
                        <a:lnTo>
                          <a:pt x="206" y="502"/>
                        </a:lnTo>
                        <a:lnTo>
                          <a:pt x="206" y="499"/>
                        </a:lnTo>
                        <a:lnTo>
                          <a:pt x="201" y="499"/>
                        </a:lnTo>
                        <a:lnTo>
                          <a:pt x="199" y="499"/>
                        </a:lnTo>
                        <a:lnTo>
                          <a:pt x="199" y="499"/>
                        </a:lnTo>
                        <a:lnTo>
                          <a:pt x="196" y="499"/>
                        </a:lnTo>
                        <a:lnTo>
                          <a:pt x="196" y="499"/>
                        </a:lnTo>
                        <a:lnTo>
                          <a:pt x="196" y="499"/>
                        </a:lnTo>
                        <a:lnTo>
                          <a:pt x="194" y="495"/>
                        </a:lnTo>
                        <a:lnTo>
                          <a:pt x="194" y="495"/>
                        </a:lnTo>
                        <a:lnTo>
                          <a:pt x="187" y="488"/>
                        </a:lnTo>
                        <a:lnTo>
                          <a:pt x="168" y="476"/>
                        </a:lnTo>
                        <a:lnTo>
                          <a:pt x="161" y="476"/>
                        </a:lnTo>
                        <a:lnTo>
                          <a:pt x="156" y="480"/>
                        </a:lnTo>
                        <a:lnTo>
                          <a:pt x="154" y="476"/>
                        </a:lnTo>
                        <a:lnTo>
                          <a:pt x="149" y="473"/>
                        </a:lnTo>
                        <a:lnTo>
                          <a:pt x="149" y="471"/>
                        </a:lnTo>
                        <a:lnTo>
                          <a:pt x="147" y="469"/>
                        </a:lnTo>
                        <a:lnTo>
                          <a:pt x="144" y="462"/>
                        </a:lnTo>
                        <a:lnTo>
                          <a:pt x="144" y="457"/>
                        </a:lnTo>
                        <a:lnTo>
                          <a:pt x="142" y="450"/>
                        </a:lnTo>
                        <a:lnTo>
                          <a:pt x="142" y="447"/>
                        </a:lnTo>
                        <a:lnTo>
                          <a:pt x="142" y="450"/>
                        </a:lnTo>
                        <a:lnTo>
                          <a:pt x="140" y="450"/>
                        </a:lnTo>
                        <a:lnTo>
                          <a:pt x="137" y="450"/>
                        </a:lnTo>
                        <a:lnTo>
                          <a:pt x="133" y="443"/>
                        </a:lnTo>
                        <a:lnTo>
                          <a:pt x="133" y="435"/>
                        </a:lnTo>
                        <a:lnTo>
                          <a:pt x="130" y="426"/>
                        </a:lnTo>
                        <a:lnTo>
                          <a:pt x="128" y="419"/>
                        </a:lnTo>
                        <a:lnTo>
                          <a:pt x="125" y="417"/>
                        </a:lnTo>
                        <a:lnTo>
                          <a:pt x="121" y="414"/>
                        </a:lnTo>
                        <a:lnTo>
                          <a:pt x="121" y="414"/>
                        </a:lnTo>
                        <a:lnTo>
                          <a:pt x="116" y="414"/>
                        </a:lnTo>
                        <a:lnTo>
                          <a:pt x="99" y="407"/>
                        </a:lnTo>
                        <a:lnTo>
                          <a:pt x="99" y="407"/>
                        </a:lnTo>
                        <a:lnTo>
                          <a:pt x="97" y="409"/>
                        </a:lnTo>
                        <a:lnTo>
                          <a:pt x="97" y="409"/>
                        </a:lnTo>
                        <a:lnTo>
                          <a:pt x="95" y="414"/>
                        </a:lnTo>
                        <a:lnTo>
                          <a:pt x="95" y="414"/>
                        </a:lnTo>
                        <a:lnTo>
                          <a:pt x="95" y="417"/>
                        </a:lnTo>
                        <a:lnTo>
                          <a:pt x="92" y="417"/>
                        </a:lnTo>
                        <a:lnTo>
                          <a:pt x="92" y="417"/>
                        </a:lnTo>
                        <a:lnTo>
                          <a:pt x="90" y="417"/>
                        </a:lnTo>
                        <a:lnTo>
                          <a:pt x="83" y="417"/>
                        </a:lnTo>
                        <a:lnTo>
                          <a:pt x="83" y="417"/>
                        </a:lnTo>
                        <a:lnTo>
                          <a:pt x="73" y="421"/>
                        </a:lnTo>
                        <a:lnTo>
                          <a:pt x="64" y="426"/>
                        </a:lnTo>
                        <a:lnTo>
                          <a:pt x="64" y="426"/>
                        </a:lnTo>
                        <a:lnTo>
                          <a:pt x="62" y="426"/>
                        </a:lnTo>
                        <a:lnTo>
                          <a:pt x="59" y="426"/>
                        </a:lnTo>
                        <a:lnTo>
                          <a:pt x="52" y="419"/>
                        </a:lnTo>
                        <a:lnTo>
                          <a:pt x="47" y="417"/>
                        </a:lnTo>
                        <a:lnTo>
                          <a:pt x="40" y="412"/>
                        </a:lnTo>
                        <a:lnTo>
                          <a:pt x="38" y="412"/>
                        </a:lnTo>
                        <a:lnTo>
                          <a:pt x="36" y="409"/>
                        </a:lnTo>
                        <a:lnTo>
                          <a:pt x="28" y="405"/>
                        </a:lnTo>
                        <a:lnTo>
                          <a:pt x="28" y="402"/>
                        </a:lnTo>
                        <a:lnTo>
                          <a:pt x="28" y="400"/>
                        </a:lnTo>
                        <a:lnTo>
                          <a:pt x="28" y="398"/>
                        </a:lnTo>
                        <a:lnTo>
                          <a:pt x="28" y="398"/>
                        </a:lnTo>
                        <a:lnTo>
                          <a:pt x="31" y="395"/>
                        </a:lnTo>
                        <a:lnTo>
                          <a:pt x="31" y="393"/>
                        </a:lnTo>
                        <a:lnTo>
                          <a:pt x="36" y="391"/>
                        </a:lnTo>
                        <a:lnTo>
                          <a:pt x="38" y="388"/>
                        </a:lnTo>
                        <a:lnTo>
                          <a:pt x="38" y="388"/>
                        </a:lnTo>
                        <a:lnTo>
                          <a:pt x="38" y="386"/>
                        </a:lnTo>
                        <a:lnTo>
                          <a:pt x="38" y="386"/>
                        </a:lnTo>
                        <a:lnTo>
                          <a:pt x="38" y="383"/>
                        </a:lnTo>
                        <a:lnTo>
                          <a:pt x="40" y="381"/>
                        </a:lnTo>
                        <a:lnTo>
                          <a:pt x="38" y="381"/>
                        </a:lnTo>
                        <a:lnTo>
                          <a:pt x="38" y="379"/>
                        </a:lnTo>
                        <a:lnTo>
                          <a:pt x="33" y="376"/>
                        </a:lnTo>
                        <a:lnTo>
                          <a:pt x="31" y="374"/>
                        </a:lnTo>
                        <a:lnTo>
                          <a:pt x="24" y="369"/>
                        </a:lnTo>
                        <a:lnTo>
                          <a:pt x="7" y="346"/>
                        </a:lnTo>
                        <a:lnTo>
                          <a:pt x="21" y="334"/>
                        </a:lnTo>
                        <a:lnTo>
                          <a:pt x="21" y="331"/>
                        </a:lnTo>
                        <a:lnTo>
                          <a:pt x="24" y="329"/>
                        </a:lnTo>
                        <a:lnTo>
                          <a:pt x="24" y="329"/>
                        </a:lnTo>
                        <a:lnTo>
                          <a:pt x="24" y="327"/>
                        </a:lnTo>
                        <a:lnTo>
                          <a:pt x="24" y="324"/>
                        </a:lnTo>
                        <a:lnTo>
                          <a:pt x="24" y="324"/>
                        </a:lnTo>
                        <a:lnTo>
                          <a:pt x="24" y="322"/>
                        </a:lnTo>
                        <a:lnTo>
                          <a:pt x="21" y="320"/>
                        </a:lnTo>
                        <a:lnTo>
                          <a:pt x="21" y="317"/>
                        </a:lnTo>
                        <a:lnTo>
                          <a:pt x="17" y="317"/>
                        </a:lnTo>
                        <a:lnTo>
                          <a:pt x="17" y="315"/>
                        </a:lnTo>
                        <a:lnTo>
                          <a:pt x="17" y="312"/>
                        </a:lnTo>
                        <a:lnTo>
                          <a:pt x="17" y="301"/>
                        </a:lnTo>
                        <a:lnTo>
                          <a:pt x="17" y="294"/>
                        </a:lnTo>
                        <a:lnTo>
                          <a:pt x="19" y="284"/>
                        </a:lnTo>
                        <a:lnTo>
                          <a:pt x="19" y="279"/>
                        </a:lnTo>
                        <a:lnTo>
                          <a:pt x="21" y="275"/>
                        </a:lnTo>
                        <a:lnTo>
                          <a:pt x="24" y="275"/>
                        </a:lnTo>
                        <a:lnTo>
                          <a:pt x="24" y="270"/>
                        </a:lnTo>
                        <a:lnTo>
                          <a:pt x="24" y="270"/>
                        </a:lnTo>
                        <a:lnTo>
                          <a:pt x="24" y="267"/>
                        </a:lnTo>
                        <a:lnTo>
                          <a:pt x="24" y="260"/>
                        </a:lnTo>
                        <a:lnTo>
                          <a:pt x="21" y="258"/>
                        </a:lnTo>
                        <a:lnTo>
                          <a:pt x="21" y="253"/>
                        </a:lnTo>
                        <a:lnTo>
                          <a:pt x="19" y="251"/>
                        </a:lnTo>
                        <a:lnTo>
                          <a:pt x="17" y="249"/>
                        </a:lnTo>
                        <a:lnTo>
                          <a:pt x="14" y="249"/>
                        </a:lnTo>
                        <a:lnTo>
                          <a:pt x="14" y="249"/>
                        </a:lnTo>
                        <a:lnTo>
                          <a:pt x="12" y="251"/>
                        </a:lnTo>
                        <a:lnTo>
                          <a:pt x="12" y="253"/>
                        </a:lnTo>
                        <a:lnTo>
                          <a:pt x="12" y="253"/>
                        </a:lnTo>
                        <a:lnTo>
                          <a:pt x="10" y="253"/>
                        </a:lnTo>
                        <a:lnTo>
                          <a:pt x="7" y="253"/>
                        </a:lnTo>
                        <a:lnTo>
                          <a:pt x="7" y="251"/>
                        </a:lnTo>
                        <a:lnTo>
                          <a:pt x="5" y="249"/>
                        </a:lnTo>
                        <a:lnTo>
                          <a:pt x="5" y="241"/>
                        </a:lnTo>
                        <a:lnTo>
                          <a:pt x="2" y="239"/>
                        </a:lnTo>
                        <a:lnTo>
                          <a:pt x="2" y="237"/>
                        </a:lnTo>
                        <a:lnTo>
                          <a:pt x="2" y="234"/>
                        </a:lnTo>
                        <a:lnTo>
                          <a:pt x="0" y="234"/>
                        </a:lnTo>
                        <a:lnTo>
                          <a:pt x="0" y="232"/>
                        </a:lnTo>
                        <a:lnTo>
                          <a:pt x="0" y="230"/>
                        </a:lnTo>
                        <a:lnTo>
                          <a:pt x="0" y="223"/>
                        </a:lnTo>
                        <a:lnTo>
                          <a:pt x="5" y="208"/>
                        </a:lnTo>
                        <a:lnTo>
                          <a:pt x="10" y="206"/>
                        </a:lnTo>
                        <a:lnTo>
                          <a:pt x="12" y="204"/>
                        </a:lnTo>
                        <a:lnTo>
                          <a:pt x="19" y="199"/>
                        </a:lnTo>
                        <a:lnTo>
                          <a:pt x="19" y="199"/>
                        </a:lnTo>
                        <a:lnTo>
                          <a:pt x="21" y="197"/>
                        </a:lnTo>
                        <a:lnTo>
                          <a:pt x="24" y="194"/>
                        </a:lnTo>
                        <a:lnTo>
                          <a:pt x="24" y="192"/>
                        </a:lnTo>
                        <a:lnTo>
                          <a:pt x="24" y="189"/>
                        </a:lnTo>
                        <a:lnTo>
                          <a:pt x="24" y="187"/>
                        </a:lnTo>
                        <a:lnTo>
                          <a:pt x="24" y="175"/>
                        </a:lnTo>
                        <a:lnTo>
                          <a:pt x="26" y="173"/>
                        </a:lnTo>
                        <a:lnTo>
                          <a:pt x="26" y="170"/>
                        </a:lnTo>
                        <a:lnTo>
                          <a:pt x="28" y="168"/>
                        </a:lnTo>
                        <a:lnTo>
                          <a:pt x="31" y="168"/>
                        </a:lnTo>
                        <a:lnTo>
                          <a:pt x="33" y="168"/>
                        </a:lnTo>
                        <a:lnTo>
                          <a:pt x="40" y="170"/>
                        </a:lnTo>
                        <a:lnTo>
                          <a:pt x="45" y="170"/>
                        </a:lnTo>
                        <a:lnTo>
                          <a:pt x="45" y="170"/>
                        </a:lnTo>
                        <a:lnTo>
                          <a:pt x="47" y="170"/>
                        </a:lnTo>
                        <a:lnTo>
                          <a:pt x="47" y="168"/>
                        </a:lnTo>
                        <a:lnTo>
                          <a:pt x="50" y="166"/>
                        </a:lnTo>
                        <a:lnTo>
                          <a:pt x="52" y="163"/>
                        </a:lnTo>
                        <a:lnTo>
                          <a:pt x="52" y="163"/>
                        </a:lnTo>
                        <a:lnTo>
                          <a:pt x="54" y="163"/>
                        </a:lnTo>
                        <a:lnTo>
                          <a:pt x="54" y="161"/>
                        </a:lnTo>
                        <a:lnTo>
                          <a:pt x="62" y="161"/>
                        </a:lnTo>
                        <a:lnTo>
                          <a:pt x="64" y="161"/>
                        </a:lnTo>
                        <a:lnTo>
                          <a:pt x="64" y="159"/>
                        </a:lnTo>
                        <a:lnTo>
                          <a:pt x="76" y="149"/>
                        </a:lnTo>
                        <a:lnTo>
                          <a:pt x="80" y="144"/>
                        </a:lnTo>
                        <a:lnTo>
                          <a:pt x="80" y="144"/>
                        </a:lnTo>
                        <a:lnTo>
                          <a:pt x="80" y="142"/>
                        </a:lnTo>
                        <a:lnTo>
                          <a:pt x="78" y="137"/>
                        </a:lnTo>
                        <a:lnTo>
                          <a:pt x="76" y="135"/>
                        </a:lnTo>
                        <a:lnTo>
                          <a:pt x="76" y="135"/>
                        </a:lnTo>
                        <a:lnTo>
                          <a:pt x="73" y="135"/>
                        </a:lnTo>
                        <a:lnTo>
                          <a:pt x="71" y="135"/>
                        </a:lnTo>
                        <a:lnTo>
                          <a:pt x="71" y="135"/>
                        </a:lnTo>
                        <a:lnTo>
                          <a:pt x="71" y="137"/>
                        </a:lnTo>
                        <a:lnTo>
                          <a:pt x="69" y="142"/>
                        </a:lnTo>
                        <a:lnTo>
                          <a:pt x="69" y="142"/>
                        </a:lnTo>
                        <a:lnTo>
                          <a:pt x="69" y="144"/>
                        </a:lnTo>
                        <a:lnTo>
                          <a:pt x="66" y="144"/>
                        </a:lnTo>
                        <a:lnTo>
                          <a:pt x="66" y="144"/>
                        </a:lnTo>
                        <a:lnTo>
                          <a:pt x="62" y="147"/>
                        </a:lnTo>
                        <a:lnTo>
                          <a:pt x="62" y="147"/>
                        </a:lnTo>
                        <a:lnTo>
                          <a:pt x="57" y="144"/>
                        </a:lnTo>
                        <a:lnTo>
                          <a:pt x="57" y="144"/>
                        </a:lnTo>
                        <a:lnTo>
                          <a:pt x="54" y="142"/>
                        </a:lnTo>
                        <a:lnTo>
                          <a:pt x="54" y="137"/>
                        </a:lnTo>
                        <a:lnTo>
                          <a:pt x="52" y="128"/>
                        </a:lnTo>
                        <a:lnTo>
                          <a:pt x="52" y="123"/>
                        </a:lnTo>
                        <a:lnTo>
                          <a:pt x="52" y="121"/>
                        </a:lnTo>
                        <a:lnTo>
                          <a:pt x="50" y="121"/>
                        </a:lnTo>
                        <a:lnTo>
                          <a:pt x="47" y="118"/>
                        </a:lnTo>
                        <a:lnTo>
                          <a:pt x="36" y="116"/>
                        </a:lnTo>
                        <a:lnTo>
                          <a:pt x="33" y="116"/>
                        </a:lnTo>
                        <a:lnTo>
                          <a:pt x="33" y="116"/>
                        </a:lnTo>
                        <a:lnTo>
                          <a:pt x="33" y="114"/>
                        </a:lnTo>
                        <a:lnTo>
                          <a:pt x="31" y="111"/>
                        </a:lnTo>
                        <a:lnTo>
                          <a:pt x="31" y="104"/>
                        </a:lnTo>
                        <a:lnTo>
                          <a:pt x="31" y="102"/>
                        </a:lnTo>
                        <a:lnTo>
                          <a:pt x="31" y="102"/>
                        </a:lnTo>
                        <a:lnTo>
                          <a:pt x="28" y="100"/>
                        </a:lnTo>
                        <a:lnTo>
                          <a:pt x="21" y="102"/>
                        </a:lnTo>
                        <a:lnTo>
                          <a:pt x="21" y="102"/>
                        </a:lnTo>
                        <a:lnTo>
                          <a:pt x="19" y="102"/>
                        </a:lnTo>
                        <a:lnTo>
                          <a:pt x="19" y="100"/>
                        </a:lnTo>
                        <a:lnTo>
                          <a:pt x="19" y="97"/>
                        </a:lnTo>
                        <a:lnTo>
                          <a:pt x="19" y="95"/>
                        </a:lnTo>
                        <a:lnTo>
                          <a:pt x="24" y="90"/>
                        </a:lnTo>
                        <a:lnTo>
                          <a:pt x="26" y="88"/>
                        </a:lnTo>
                        <a:lnTo>
                          <a:pt x="28" y="88"/>
                        </a:lnTo>
                        <a:lnTo>
                          <a:pt x="28" y="88"/>
                        </a:lnTo>
                        <a:lnTo>
                          <a:pt x="31" y="85"/>
                        </a:lnTo>
                        <a:lnTo>
                          <a:pt x="36" y="76"/>
                        </a:lnTo>
                        <a:lnTo>
                          <a:pt x="38" y="73"/>
                        </a:lnTo>
                        <a:lnTo>
                          <a:pt x="40" y="73"/>
                        </a:lnTo>
                        <a:lnTo>
                          <a:pt x="43" y="71"/>
                        </a:lnTo>
                        <a:lnTo>
                          <a:pt x="43" y="71"/>
                        </a:lnTo>
                        <a:lnTo>
                          <a:pt x="45" y="69"/>
                        </a:lnTo>
                        <a:lnTo>
                          <a:pt x="43" y="64"/>
                        </a:lnTo>
                        <a:lnTo>
                          <a:pt x="43" y="64"/>
                        </a:lnTo>
                        <a:lnTo>
                          <a:pt x="43" y="62"/>
                        </a:lnTo>
                        <a:lnTo>
                          <a:pt x="40" y="62"/>
                        </a:lnTo>
                        <a:lnTo>
                          <a:pt x="33" y="59"/>
                        </a:lnTo>
                        <a:lnTo>
                          <a:pt x="33" y="59"/>
                        </a:lnTo>
                        <a:lnTo>
                          <a:pt x="31" y="57"/>
                        </a:lnTo>
                        <a:lnTo>
                          <a:pt x="31" y="57"/>
                        </a:lnTo>
                        <a:lnTo>
                          <a:pt x="31" y="55"/>
                        </a:lnTo>
                        <a:lnTo>
                          <a:pt x="31" y="52"/>
                        </a:lnTo>
                        <a:lnTo>
                          <a:pt x="36" y="50"/>
                        </a:lnTo>
                        <a:lnTo>
                          <a:pt x="36" y="47"/>
                        </a:lnTo>
                        <a:lnTo>
                          <a:pt x="40" y="47"/>
                        </a:lnTo>
                        <a:lnTo>
                          <a:pt x="43" y="47"/>
                        </a:lnTo>
                        <a:lnTo>
                          <a:pt x="45" y="38"/>
                        </a:lnTo>
                        <a:lnTo>
                          <a:pt x="57" y="7"/>
                        </a:lnTo>
                        <a:lnTo>
                          <a:pt x="59" y="10"/>
                        </a:lnTo>
                        <a:lnTo>
                          <a:pt x="59" y="10"/>
                        </a:lnTo>
                        <a:lnTo>
                          <a:pt x="64" y="10"/>
                        </a:lnTo>
                        <a:lnTo>
                          <a:pt x="66" y="10"/>
                        </a:lnTo>
                        <a:lnTo>
                          <a:pt x="69" y="10"/>
                        </a:lnTo>
                        <a:lnTo>
                          <a:pt x="76" y="12"/>
                        </a:lnTo>
                        <a:lnTo>
                          <a:pt x="80" y="14"/>
                        </a:lnTo>
                        <a:lnTo>
                          <a:pt x="83" y="14"/>
                        </a:lnTo>
                        <a:lnTo>
                          <a:pt x="85" y="14"/>
                        </a:lnTo>
                        <a:lnTo>
                          <a:pt x="85" y="12"/>
                        </a:lnTo>
                        <a:lnTo>
                          <a:pt x="88" y="10"/>
                        </a:lnTo>
                        <a:lnTo>
                          <a:pt x="88" y="7"/>
                        </a:lnTo>
                        <a:lnTo>
                          <a:pt x="88" y="7"/>
                        </a:lnTo>
                        <a:lnTo>
                          <a:pt x="90" y="7"/>
                        </a:lnTo>
                        <a:lnTo>
                          <a:pt x="102" y="0"/>
                        </a:lnTo>
                        <a:lnTo>
                          <a:pt x="102" y="0"/>
                        </a:lnTo>
                        <a:lnTo>
                          <a:pt x="104" y="0"/>
                        </a:lnTo>
                        <a:lnTo>
                          <a:pt x="104" y="3"/>
                        </a:lnTo>
                        <a:lnTo>
                          <a:pt x="104" y="3"/>
                        </a:lnTo>
                        <a:lnTo>
                          <a:pt x="104" y="5"/>
                        </a:lnTo>
                        <a:lnTo>
                          <a:pt x="104" y="7"/>
                        </a:lnTo>
                        <a:lnTo>
                          <a:pt x="104" y="10"/>
                        </a:lnTo>
                        <a:lnTo>
                          <a:pt x="104" y="12"/>
                        </a:lnTo>
                        <a:lnTo>
                          <a:pt x="104" y="14"/>
                        </a:lnTo>
                        <a:lnTo>
                          <a:pt x="104" y="14"/>
                        </a:lnTo>
                        <a:lnTo>
                          <a:pt x="104" y="17"/>
                        </a:lnTo>
                        <a:lnTo>
                          <a:pt x="104" y="17"/>
                        </a:lnTo>
                        <a:lnTo>
                          <a:pt x="104" y="19"/>
                        </a:lnTo>
                        <a:lnTo>
                          <a:pt x="104" y="21"/>
                        </a:lnTo>
                        <a:lnTo>
                          <a:pt x="104" y="21"/>
                        </a:lnTo>
                        <a:lnTo>
                          <a:pt x="102" y="24"/>
                        </a:lnTo>
                        <a:lnTo>
                          <a:pt x="102" y="24"/>
                        </a:lnTo>
                        <a:lnTo>
                          <a:pt x="99" y="24"/>
                        </a:lnTo>
                        <a:lnTo>
                          <a:pt x="95" y="24"/>
                        </a:lnTo>
                        <a:lnTo>
                          <a:pt x="92" y="24"/>
                        </a:lnTo>
                        <a:lnTo>
                          <a:pt x="92" y="24"/>
                        </a:lnTo>
                        <a:lnTo>
                          <a:pt x="90" y="26"/>
                        </a:lnTo>
                        <a:lnTo>
                          <a:pt x="90" y="26"/>
                        </a:lnTo>
                        <a:lnTo>
                          <a:pt x="90" y="29"/>
                        </a:lnTo>
                        <a:lnTo>
                          <a:pt x="92" y="29"/>
                        </a:lnTo>
                        <a:lnTo>
                          <a:pt x="92" y="31"/>
                        </a:lnTo>
                        <a:lnTo>
                          <a:pt x="95" y="31"/>
                        </a:lnTo>
                        <a:lnTo>
                          <a:pt x="97" y="33"/>
                        </a:lnTo>
                        <a:lnTo>
                          <a:pt x="116" y="38"/>
                        </a:lnTo>
                        <a:lnTo>
                          <a:pt x="121" y="38"/>
                        </a:lnTo>
                        <a:lnTo>
                          <a:pt x="123" y="38"/>
                        </a:lnTo>
                        <a:lnTo>
                          <a:pt x="125" y="36"/>
                        </a:lnTo>
                        <a:lnTo>
                          <a:pt x="125" y="36"/>
                        </a:lnTo>
                        <a:lnTo>
                          <a:pt x="128" y="33"/>
                        </a:lnTo>
                        <a:lnTo>
                          <a:pt x="128" y="31"/>
                        </a:lnTo>
                        <a:lnTo>
                          <a:pt x="128" y="31"/>
                        </a:lnTo>
                        <a:lnTo>
                          <a:pt x="130" y="31"/>
                        </a:lnTo>
                        <a:lnTo>
                          <a:pt x="135" y="31"/>
                        </a:lnTo>
                        <a:lnTo>
                          <a:pt x="149" y="36"/>
                        </a:lnTo>
                        <a:lnTo>
                          <a:pt x="156" y="38"/>
                        </a:lnTo>
                        <a:lnTo>
                          <a:pt x="189" y="69"/>
                        </a:lnTo>
                        <a:lnTo>
                          <a:pt x="192" y="69"/>
                        </a:lnTo>
                        <a:lnTo>
                          <a:pt x="192" y="69"/>
                        </a:lnTo>
                        <a:lnTo>
                          <a:pt x="194" y="66"/>
                        </a:lnTo>
                        <a:lnTo>
                          <a:pt x="196" y="62"/>
                        </a:lnTo>
                        <a:lnTo>
                          <a:pt x="199" y="62"/>
                        </a:lnTo>
                        <a:lnTo>
                          <a:pt x="199" y="62"/>
                        </a:lnTo>
                        <a:lnTo>
                          <a:pt x="201" y="59"/>
                        </a:lnTo>
                        <a:lnTo>
                          <a:pt x="204" y="59"/>
                        </a:lnTo>
                        <a:lnTo>
                          <a:pt x="208" y="62"/>
                        </a:lnTo>
                        <a:lnTo>
                          <a:pt x="213" y="62"/>
                        </a:lnTo>
                        <a:lnTo>
                          <a:pt x="213" y="62"/>
                        </a:lnTo>
                        <a:lnTo>
                          <a:pt x="215" y="62"/>
                        </a:lnTo>
                        <a:lnTo>
                          <a:pt x="218" y="59"/>
                        </a:lnTo>
                        <a:lnTo>
                          <a:pt x="218" y="55"/>
                        </a:lnTo>
                        <a:lnTo>
                          <a:pt x="220" y="55"/>
                        </a:lnTo>
                        <a:lnTo>
                          <a:pt x="220" y="52"/>
                        </a:lnTo>
                        <a:lnTo>
                          <a:pt x="227" y="50"/>
                        </a:lnTo>
                        <a:lnTo>
                          <a:pt x="234" y="47"/>
                        </a:lnTo>
                        <a:lnTo>
                          <a:pt x="234" y="55"/>
                        </a:lnTo>
                        <a:lnTo>
                          <a:pt x="234" y="57"/>
                        </a:lnTo>
                        <a:lnTo>
                          <a:pt x="234" y="62"/>
                        </a:lnTo>
                        <a:lnTo>
                          <a:pt x="237" y="64"/>
                        </a:lnTo>
                        <a:lnTo>
                          <a:pt x="237" y="66"/>
                        </a:lnTo>
                        <a:lnTo>
                          <a:pt x="237" y="71"/>
                        </a:lnTo>
                        <a:lnTo>
                          <a:pt x="237" y="81"/>
                        </a:lnTo>
                        <a:lnTo>
                          <a:pt x="237" y="83"/>
                        </a:lnTo>
                        <a:lnTo>
                          <a:pt x="237" y="85"/>
                        </a:lnTo>
                        <a:lnTo>
                          <a:pt x="239" y="88"/>
                        </a:lnTo>
                        <a:lnTo>
                          <a:pt x="253" y="104"/>
                        </a:lnTo>
                        <a:lnTo>
                          <a:pt x="253" y="107"/>
                        </a:lnTo>
                        <a:lnTo>
                          <a:pt x="253" y="107"/>
                        </a:lnTo>
                        <a:lnTo>
                          <a:pt x="256" y="114"/>
                        </a:lnTo>
                        <a:lnTo>
                          <a:pt x="256" y="118"/>
                        </a:lnTo>
                        <a:lnTo>
                          <a:pt x="258" y="123"/>
                        </a:lnTo>
                        <a:lnTo>
                          <a:pt x="260" y="126"/>
                        </a:lnTo>
                        <a:lnTo>
                          <a:pt x="279" y="149"/>
                        </a:lnTo>
                        <a:lnTo>
                          <a:pt x="282" y="156"/>
                        </a:lnTo>
                        <a:lnTo>
                          <a:pt x="282" y="159"/>
                        </a:lnTo>
                        <a:lnTo>
                          <a:pt x="282" y="161"/>
                        </a:lnTo>
                        <a:lnTo>
                          <a:pt x="282" y="163"/>
                        </a:lnTo>
                        <a:lnTo>
                          <a:pt x="282" y="166"/>
                        </a:lnTo>
                        <a:lnTo>
                          <a:pt x="282" y="166"/>
                        </a:lnTo>
                        <a:lnTo>
                          <a:pt x="282" y="168"/>
                        </a:lnTo>
                        <a:lnTo>
                          <a:pt x="282" y="168"/>
                        </a:lnTo>
                        <a:lnTo>
                          <a:pt x="279" y="173"/>
                        </a:lnTo>
                        <a:lnTo>
                          <a:pt x="279" y="173"/>
                        </a:lnTo>
                        <a:lnTo>
                          <a:pt x="277" y="175"/>
                        </a:lnTo>
                        <a:lnTo>
                          <a:pt x="277" y="178"/>
                        </a:lnTo>
                        <a:lnTo>
                          <a:pt x="277" y="178"/>
                        </a:lnTo>
                        <a:lnTo>
                          <a:pt x="279" y="182"/>
                        </a:lnTo>
                        <a:lnTo>
                          <a:pt x="282" y="182"/>
                        </a:lnTo>
                        <a:lnTo>
                          <a:pt x="282" y="185"/>
                        </a:lnTo>
                        <a:lnTo>
                          <a:pt x="286" y="185"/>
                        </a:lnTo>
                        <a:lnTo>
                          <a:pt x="289" y="185"/>
                        </a:lnTo>
                        <a:lnTo>
                          <a:pt x="291" y="187"/>
                        </a:lnTo>
                        <a:lnTo>
                          <a:pt x="296" y="192"/>
                        </a:lnTo>
                        <a:lnTo>
                          <a:pt x="298" y="197"/>
                        </a:lnTo>
                        <a:lnTo>
                          <a:pt x="301" y="199"/>
                        </a:lnTo>
                        <a:lnTo>
                          <a:pt x="301" y="201"/>
                        </a:lnTo>
                        <a:lnTo>
                          <a:pt x="301" y="208"/>
                        </a:lnTo>
                        <a:lnTo>
                          <a:pt x="301" y="213"/>
                        </a:lnTo>
                        <a:lnTo>
                          <a:pt x="303" y="218"/>
                        </a:lnTo>
                        <a:lnTo>
                          <a:pt x="305" y="223"/>
                        </a:lnTo>
                        <a:lnTo>
                          <a:pt x="305" y="225"/>
                        </a:lnTo>
                        <a:lnTo>
                          <a:pt x="305" y="225"/>
                        </a:lnTo>
                        <a:lnTo>
                          <a:pt x="305" y="227"/>
                        </a:lnTo>
                        <a:lnTo>
                          <a:pt x="305" y="230"/>
                        </a:lnTo>
                        <a:lnTo>
                          <a:pt x="305" y="232"/>
                        </a:lnTo>
                        <a:lnTo>
                          <a:pt x="305" y="234"/>
                        </a:lnTo>
                        <a:lnTo>
                          <a:pt x="308" y="234"/>
                        </a:lnTo>
                        <a:lnTo>
                          <a:pt x="308" y="237"/>
                        </a:lnTo>
                        <a:lnTo>
                          <a:pt x="310" y="239"/>
                        </a:lnTo>
                        <a:lnTo>
                          <a:pt x="310" y="239"/>
                        </a:lnTo>
                        <a:lnTo>
                          <a:pt x="310" y="244"/>
                        </a:lnTo>
                        <a:lnTo>
                          <a:pt x="310" y="246"/>
                        </a:lnTo>
                        <a:lnTo>
                          <a:pt x="312" y="251"/>
                        </a:lnTo>
                        <a:lnTo>
                          <a:pt x="319" y="256"/>
                        </a:lnTo>
                        <a:lnTo>
                          <a:pt x="322" y="258"/>
                        </a:lnTo>
                        <a:lnTo>
                          <a:pt x="331" y="263"/>
                        </a:lnTo>
                        <a:lnTo>
                          <a:pt x="331" y="263"/>
                        </a:lnTo>
                        <a:lnTo>
                          <a:pt x="331" y="263"/>
                        </a:lnTo>
                        <a:lnTo>
                          <a:pt x="334" y="265"/>
                        </a:lnTo>
                        <a:lnTo>
                          <a:pt x="334" y="267"/>
                        </a:lnTo>
                        <a:lnTo>
                          <a:pt x="334" y="267"/>
                        </a:lnTo>
                        <a:lnTo>
                          <a:pt x="336" y="275"/>
                        </a:lnTo>
                        <a:lnTo>
                          <a:pt x="336" y="277"/>
                        </a:lnTo>
                        <a:lnTo>
                          <a:pt x="336" y="279"/>
                        </a:lnTo>
                        <a:lnTo>
                          <a:pt x="338" y="279"/>
                        </a:lnTo>
                        <a:lnTo>
                          <a:pt x="341" y="277"/>
                        </a:lnTo>
                        <a:lnTo>
                          <a:pt x="341" y="275"/>
                        </a:lnTo>
                        <a:lnTo>
                          <a:pt x="341" y="275"/>
                        </a:lnTo>
                        <a:lnTo>
                          <a:pt x="341" y="272"/>
                        </a:lnTo>
                        <a:lnTo>
                          <a:pt x="341" y="270"/>
                        </a:lnTo>
                        <a:lnTo>
                          <a:pt x="338" y="270"/>
                        </a:lnTo>
                        <a:lnTo>
                          <a:pt x="338" y="267"/>
                        </a:lnTo>
                        <a:lnTo>
                          <a:pt x="341" y="265"/>
                        </a:lnTo>
                        <a:lnTo>
                          <a:pt x="341" y="265"/>
                        </a:lnTo>
                        <a:lnTo>
                          <a:pt x="350" y="265"/>
                        </a:lnTo>
                        <a:lnTo>
                          <a:pt x="353" y="263"/>
                        </a:lnTo>
                        <a:lnTo>
                          <a:pt x="355" y="263"/>
                        </a:lnTo>
                        <a:lnTo>
                          <a:pt x="355" y="263"/>
                        </a:lnTo>
                        <a:lnTo>
                          <a:pt x="357" y="263"/>
                        </a:lnTo>
                        <a:lnTo>
                          <a:pt x="360" y="265"/>
                        </a:lnTo>
                        <a:lnTo>
                          <a:pt x="364" y="267"/>
                        </a:lnTo>
                        <a:lnTo>
                          <a:pt x="371" y="272"/>
                        </a:lnTo>
                        <a:lnTo>
                          <a:pt x="376" y="275"/>
                        </a:lnTo>
                        <a:lnTo>
                          <a:pt x="379" y="277"/>
                        </a:lnTo>
                        <a:lnTo>
                          <a:pt x="390" y="286"/>
                        </a:lnTo>
                        <a:lnTo>
                          <a:pt x="390" y="289"/>
                        </a:lnTo>
                        <a:lnTo>
                          <a:pt x="393" y="289"/>
                        </a:lnTo>
                        <a:lnTo>
                          <a:pt x="393" y="291"/>
                        </a:lnTo>
                        <a:lnTo>
                          <a:pt x="393" y="294"/>
                        </a:lnTo>
                        <a:lnTo>
                          <a:pt x="395" y="296"/>
                        </a:lnTo>
                        <a:lnTo>
                          <a:pt x="395" y="296"/>
                        </a:lnTo>
                        <a:lnTo>
                          <a:pt x="400" y="296"/>
                        </a:lnTo>
                        <a:lnTo>
                          <a:pt x="416" y="284"/>
                        </a:lnTo>
                        <a:lnTo>
                          <a:pt x="419" y="284"/>
                        </a:lnTo>
                        <a:lnTo>
                          <a:pt x="419" y="284"/>
                        </a:lnTo>
                        <a:lnTo>
                          <a:pt x="421" y="284"/>
                        </a:lnTo>
                        <a:lnTo>
                          <a:pt x="421" y="286"/>
                        </a:lnTo>
                        <a:lnTo>
                          <a:pt x="424" y="291"/>
                        </a:lnTo>
                        <a:lnTo>
                          <a:pt x="428" y="296"/>
                        </a:lnTo>
                        <a:lnTo>
                          <a:pt x="428" y="298"/>
                        </a:lnTo>
                        <a:lnTo>
                          <a:pt x="428" y="301"/>
                        </a:lnTo>
                        <a:lnTo>
                          <a:pt x="428" y="303"/>
                        </a:lnTo>
                        <a:lnTo>
                          <a:pt x="428" y="305"/>
                        </a:lnTo>
                        <a:lnTo>
                          <a:pt x="428" y="315"/>
                        </a:lnTo>
                        <a:lnTo>
                          <a:pt x="428" y="315"/>
                        </a:lnTo>
                        <a:lnTo>
                          <a:pt x="428" y="317"/>
                        </a:lnTo>
                        <a:lnTo>
                          <a:pt x="426" y="320"/>
                        </a:lnTo>
                        <a:lnTo>
                          <a:pt x="424" y="320"/>
                        </a:lnTo>
                        <a:lnTo>
                          <a:pt x="421" y="322"/>
                        </a:lnTo>
                        <a:lnTo>
                          <a:pt x="419" y="322"/>
                        </a:lnTo>
                        <a:lnTo>
                          <a:pt x="416" y="320"/>
                        </a:lnTo>
                        <a:lnTo>
                          <a:pt x="416" y="322"/>
                        </a:lnTo>
                        <a:lnTo>
                          <a:pt x="414" y="322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41" name="Freeform 43">
                    <a:extLst>
                      <a:ext uri="{FF2B5EF4-FFF2-40B4-BE49-F238E27FC236}">
                        <a16:creationId xmlns:a16="http://schemas.microsoft.com/office/drawing/2014/main" id="{41C60D6F-A9D6-4F9B-9EFD-42976B2DB81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19431" y="1731601"/>
                    <a:ext cx="1015665" cy="1301049"/>
                  </a:xfrm>
                  <a:custGeom>
                    <a:avLst/>
                    <a:gdLst>
                      <a:gd name="T0" fmla="*/ 272 w 799"/>
                      <a:gd name="T1" fmla="*/ 1020 h 1024"/>
                      <a:gd name="T2" fmla="*/ 161 w 799"/>
                      <a:gd name="T3" fmla="*/ 977 h 1024"/>
                      <a:gd name="T4" fmla="*/ 123 w 799"/>
                      <a:gd name="T5" fmla="*/ 954 h 1024"/>
                      <a:gd name="T6" fmla="*/ 99 w 799"/>
                      <a:gd name="T7" fmla="*/ 885 h 1024"/>
                      <a:gd name="T8" fmla="*/ 146 w 799"/>
                      <a:gd name="T9" fmla="*/ 790 h 1024"/>
                      <a:gd name="T10" fmla="*/ 132 w 799"/>
                      <a:gd name="T11" fmla="*/ 733 h 1024"/>
                      <a:gd name="T12" fmla="*/ 40 w 799"/>
                      <a:gd name="T13" fmla="*/ 658 h 1024"/>
                      <a:gd name="T14" fmla="*/ 19 w 799"/>
                      <a:gd name="T15" fmla="*/ 606 h 1024"/>
                      <a:gd name="T16" fmla="*/ 80 w 799"/>
                      <a:gd name="T17" fmla="*/ 596 h 1024"/>
                      <a:gd name="T18" fmla="*/ 130 w 799"/>
                      <a:gd name="T19" fmla="*/ 563 h 1024"/>
                      <a:gd name="T20" fmla="*/ 156 w 799"/>
                      <a:gd name="T21" fmla="*/ 478 h 1024"/>
                      <a:gd name="T22" fmla="*/ 146 w 799"/>
                      <a:gd name="T23" fmla="*/ 440 h 1024"/>
                      <a:gd name="T24" fmla="*/ 220 w 799"/>
                      <a:gd name="T25" fmla="*/ 424 h 1024"/>
                      <a:gd name="T26" fmla="*/ 258 w 799"/>
                      <a:gd name="T27" fmla="*/ 393 h 1024"/>
                      <a:gd name="T28" fmla="*/ 333 w 799"/>
                      <a:gd name="T29" fmla="*/ 388 h 1024"/>
                      <a:gd name="T30" fmla="*/ 364 w 799"/>
                      <a:gd name="T31" fmla="*/ 317 h 1024"/>
                      <a:gd name="T32" fmla="*/ 338 w 799"/>
                      <a:gd name="T33" fmla="*/ 244 h 1024"/>
                      <a:gd name="T34" fmla="*/ 381 w 799"/>
                      <a:gd name="T35" fmla="*/ 192 h 1024"/>
                      <a:gd name="T36" fmla="*/ 392 w 799"/>
                      <a:gd name="T37" fmla="*/ 95 h 1024"/>
                      <a:gd name="T38" fmla="*/ 449 w 799"/>
                      <a:gd name="T39" fmla="*/ 31 h 1024"/>
                      <a:gd name="T40" fmla="*/ 494 w 799"/>
                      <a:gd name="T41" fmla="*/ 40 h 1024"/>
                      <a:gd name="T42" fmla="*/ 575 w 799"/>
                      <a:gd name="T43" fmla="*/ 142 h 1024"/>
                      <a:gd name="T44" fmla="*/ 558 w 799"/>
                      <a:gd name="T45" fmla="*/ 220 h 1024"/>
                      <a:gd name="T46" fmla="*/ 558 w 799"/>
                      <a:gd name="T47" fmla="*/ 267 h 1024"/>
                      <a:gd name="T48" fmla="*/ 584 w 799"/>
                      <a:gd name="T49" fmla="*/ 305 h 1024"/>
                      <a:gd name="T50" fmla="*/ 593 w 799"/>
                      <a:gd name="T51" fmla="*/ 327 h 1024"/>
                      <a:gd name="T52" fmla="*/ 603 w 799"/>
                      <a:gd name="T53" fmla="*/ 353 h 1024"/>
                      <a:gd name="T54" fmla="*/ 629 w 799"/>
                      <a:gd name="T55" fmla="*/ 395 h 1024"/>
                      <a:gd name="T56" fmla="*/ 631 w 799"/>
                      <a:gd name="T57" fmla="*/ 452 h 1024"/>
                      <a:gd name="T58" fmla="*/ 619 w 799"/>
                      <a:gd name="T59" fmla="*/ 476 h 1024"/>
                      <a:gd name="T60" fmla="*/ 591 w 799"/>
                      <a:gd name="T61" fmla="*/ 457 h 1024"/>
                      <a:gd name="T62" fmla="*/ 558 w 799"/>
                      <a:gd name="T63" fmla="*/ 487 h 1024"/>
                      <a:gd name="T64" fmla="*/ 572 w 799"/>
                      <a:gd name="T65" fmla="*/ 516 h 1024"/>
                      <a:gd name="T66" fmla="*/ 584 w 799"/>
                      <a:gd name="T67" fmla="*/ 547 h 1024"/>
                      <a:gd name="T68" fmla="*/ 674 w 799"/>
                      <a:gd name="T69" fmla="*/ 577 h 1024"/>
                      <a:gd name="T70" fmla="*/ 690 w 799"/>
                      <a:gd name="T71" fmla="*/ 603 h 1024"/>
                      <a:gd name="T72" fmla="*/ 714 w 799"/>
                      <a:gd name="T73" fmla="*/ 622 h 1024"/>
                      <a:gd name="T74" fmla="*/ 742 w 799"/>
                      <a:gd name="T75" fmla="*/ 660 h 1024"/>
                      <a:gd name="T76" fmla="*/ 778 w 799"/>
                      <a:gd name="T77" fmla="*/ 677 h 1024"/>
                      <a:gd name="T78" fmla="*/ 792 w 799"/>
                      <a:gd name="T79" fmla="*/ 769 h 1024"/>
                      <a:gd name="T80" fmla="*/ 766 w 799"/>
                      <a:gd name="T81" fmla="*/ 757 h 1024"/>
                      <a:gd name="T82" fmla="*/ 712 w 799"/>
                      <a:gd name="T83" fmla="*/ 736 h 1024"/>
                      <a:gd name="T84" fmla="*/ 707 w 799"/>
                      <a:gd name="T85" fmla="*/ 762 h 1024"/>
                      <a:gd name="T86" fmla="*/ 709 w 799"/>
                      <a:gd name="T87" fmla="*/ 788 h 1024"/>
                      <a:gd name="T88" fmla="*/ 681 w 799"/>
                      <a:gd name="T89" fmla="*/ 807 h 1024"/>
                      <a:gd name="T90" fmla="*/ 672 w 799"/>
                      <a:gd name="T91" fmla="*/ 804 h 1024"/>
                      <a:gd name="T92" fmla="*/ 627 w 799"/>
                      <a:gd name="T93" fmla="*/ 786 h 1024"/>
                      <a:gd name="T94" fmla="*/ 622 w 799"/>
                      <a:gd name="T95" fmla="*/ 804 h 1024"/>
                      <a:gd name="T96" fmla="*/ 565 w 799"/>
                      <a:gd name="T97" fmla="*/ 823 h 1024"/>
                      <a:gd name="T98" fmla="*/ 548 w 799"/>
                      <a:gd name="T99" fmla="*/ 838 h 1024"/>
                      <a:gd name="T100" fmla="*/ 518 w 799"/>
                      <a:gd name="T101" fmla="*/ 819 h 1024"/>
                      <a:gd name="T102" fmla="*/ 508 w 799"/>
                      <a:gd name="T103" fmla="*/ 854 h 1024"/>
                      <a:gd name="T104" fmla="*/ 496 w 799"/>
                      <a:gd name="T105" fmla="*/ 880 h 1024"/>
                      <a:gd name="T106" fmla="*/ 475 w 799"/>
                      <a:gd name="T107" fmla="*/ 918 h 1024"/>
                      <a:gd name="T108" fmla="*/ 475 w 799"/>
                      <a:gd name="T109" fmla="*/ 949 h 1024"/>
                      <a:gd name="T110" fmla="*/ 475 w 799"/>
                      <a:gd name="T111" fmla="*/ 982 h 1024"/>
                      <a:gd name="T112" fmla="*/ 451 w 799"/>
                      <a:gd name="T113" fmla="*/ 994 h 1024"/>
                      <a:gd name="T114" fmla="*/ 435 w 799"/>
                      <a:gd name="T115" fmla="*/ 1006 h 1024"/>
                      <a:gd name="T116" fmla="*/ 381 w 799"/>
                      <a:gd name="T117" fmla="*/ 1006 h 102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</a:cxnLst>
                    <a:rect l="0" t="0" r="r" b="b"/>
                    <a:pathLst>
                      <a:path w="799" h="1024">
                        <a:moveTo>
                          <a:pt x="381" y="1020"/>
                        </a:moveTo>
                        <a:lnTo>
                          <a:pt x="381" y="1020"/>
                        </a:lnTo>
                        <a:lnTo>
                          <a:pt x="371" y="1024"/>
                        </a:lnTo>
                        <a:lnTo>
                          <a:pt x="366" y="1024"/>
                        </a:lnTo>
                        <a:lnTo>
                          <a:pt x="362" y="1017"/>
                        </a:lnTo>
                        <a:lnTo>
                          <a:pt x="355" y="1010"/>
                        </a:lnTo>
                        <a:lnTo>
                          <a:pt x="350" y="1003"/>
                        </a:lnTo>
                        <a:lnTo>
                          <a:pt x="352" y="989"/>
                        </a:lnTo>
                        <a:lnTo>
                          <a:pt x="343" y="989"/>
                        </a:lnTo>
                        <a:lnTo>
                          <a:pt x="331" y="998"/>
                        </a:lnTo>
                        <a:lnTo>
                          <a:pt x="321" y="998"/>
                        </a:lnTo>
                        <a:lnTo>
                          <a:pt x="272" y="1020"/>
                        </a:lnTo>
                        <a:lnTo>
                          <a:pt x="258" y="1020"/>
                        </a:lnTo>
                        <a:lnTo>
                          <a:pt x="255" y="1020"/>
                        </a:lnTo>
                        <a:lnTo>
                          <a:pt x="253" y="1017"/>
                        </a:lnTo>
                        <a:lnTo>
                          <a:pt x="250" y="1015"/>
                        </a:lnTo>
                        <a:lnTo>
                          <a:pt x="248" y="1010"/>
                        </a:lnTo>
                        <a:lnTo>
                          <a:pt x="243" y="1010"/>
                        </a:lnTo>
                        <a:lnTo>
                          <a:pt x="236" y="1010"/>
                        </a:lnTo>
                        <a:lnTo>
                          <a:pt x="229" y="1008"/>
                        </a:lnTo>
                        <a:lnTo>
                          <a:pt x="196" y="991"/>
                        </a:lnTo>
                        <a:lnTo>
                          <a:pt x="184" y="987"/>
                        </a:lnTo>
                        <a:lnTo>
                          <a:pt x="165" y="980"/>
                        </a:lnTo>
                        <a:lnTo>
                          <a:pt x="161" y="977"/>
                        </a:lnTo>
                        <a:lnTo>
                          <a:pt x="156" y="980"/>
                        </a:lnTo>
                        <a:lnTo>
                          <a:pt x="153" y="980"/>
                        </a:lnTo>
                        <a:lnTo>
                          <a:pt x="149" y="982"/>
                        </a:lnTo>
                        <a:lnTo>
                          <a:pt x="146" y="980"/>
                        </a:lnTo>
                        <a:lnTo>
                          <a:pt x="142" y="977"/>
                        </a:lnTo>
                        <a:lnTo>
                          <a:pt x="139" y="972"/>
                        </a:lnTo>
                        <a:lnTo>
                          <a:pt x="139" y="970"/>
                        </a:lnTo>
                        <a:lnTo>
                          <a:pt x="137" y="965"/>
                        </a:lnTo>
                        <a:lnTo>
                          <a:pt x="135" y="963"/>
                        </a:lnTo>
                        <a:lnTo>
                          <a:pt x="127" y="958"/>
                        </a:lnTo>
                        <a:lnTo>
                          <a:pt x="125" y="956"/>
                        </a:lnTo>
                        <a:lnTo>
                          <a:pt x="123" y="954"/>
                        </a:lnTo>
                        <a:lnTo>
                          <a:pt x="118" y="944"/>
                        </a:lnTo>
                        <a:lnTo>
                          <a:pt x="116" y="942"/>
                        </a:lnTo>
                        <a:lnTo>
                          <a:pt x="108" y="932"/>
                        </a:lnTo>
                        <a:lnTo>
                          <a:pt x="106" y="932"/>
                        </a:lnTo>
                        <a:lnTo>
                          <a:pt x="106" y="927"/>
                        </a:lnTo>
                        <a:lnTo>
                          <a:pt x="106" y="925"/>
                        </a:lnTo>
                        <a:lnTo>
                          <a:pt x="106" y="923"/>
                        </a:lnTo>
                        <a:lnTo>
                          <a:pt x="106" y="909"/>
                        </a:lnTo>
                        <a:lnTo>
                          <a:pt x="108" y="906"/>
                        </a:lnTo>
                        <a:lnTo>
                          <a:pt x="118" y="899"/>
                        </a:lnTo>
                        <a:lnTo>
                          <a:pt x="111" y="892"/>
                        </a:lnTo>
                        <a:lnTo>
                          <a:pt x="99" y="885"/>
                        </a:lnTo>
                        <a:lnTo>
                          <a:pt x="92" y="873"/>
                        </a:lnTo>
                        <a:lnTo>
                          <a:pt x="90" y="859"/>
                        </a:lnTo>
                        <a:lnTo>
                          <a:pt x="92" y="854"/>
                        </a:lnTo>
                        <a:lnTo>
                          <a:pt x="106" y="840"/>
                        </a:lnTo>
                        <a:lnTo>
                          <a:pt x="116" y="821"/>
                        </a:lnTo>
                        <a:lnTo>
                          <a:pt x="120" y="819"/>
                        </a:lnTo>
                        <a:lnTo>
                          <a:pt x="116" y="809"/>
                        </a:lnTo>
                        <a:lnTo>
                          <a:pt x="118" y="800"/>
                        </a:lnTo>
                        <a:lnTo>
                          <a:pt x="123" y="793"/>
                        </a:lnTo>
                        <a:lnTo>
                          <a:pt x="130" y="788"/>
                        </a:lnTo>
                        <a:lnTo>
                          <a:pt x="135" y="788"/>
                        </a:lnTo>
                        <a:lnTo>
                          <a:pt x="146" y="790"/>
                        </a:lnTo>
                        <a:lnTo>
                          <a:pt x="151" y="790"/>
                        </a:lnTo>
                        <a:lnTo>
                          <a:pt x="149" y="783"/>
                        </a:lnTo>
                        <a:lnTo>
                          <a:pt x="137" y="767"/>
                        </a:lnTo>
                        <a:lnTo>
                          <a:pt x="137" y="764"/>
                        </a:lnTo>
                        <a:lnTo>
                          <a:pt x="135" y="752"/>
                        </a:lnTo>
                        <a:lnTo>
                          <a:pt x="130" y="745"/>
                        </a:lnTo>
                        <a:lnTo>
                          <a:pt x="130" y="743"/>
                        </a:lnTo>
                        <a:lnTo>
                          <a:pt x="130" y="738"/>
                        </a:lnTo>
                        <a:lnTo>
                          <a:pt x="132" y="736"/>
                        </a:lnTo>
                        <a:lnTo>
                          <a:pt x="132" y="736"/>
                        </a:lnTo>
                        <a:lnTo>
                          <a:pt x="132" y="733"/>
                        </a:lnTo>
                        <a:lnTo>
                          <a:pt x="132" y="733"/>
                        </a:lnTo>
                        <a:lnTo>
                          <a:pt x="130" y="729"/>
                        </a:lnTo>
                        <a:lnTo>
                          <a:pt x="130" y="729"/>
                        </a:lnTo>
                        <a:lnTo>
                          <a:pt x="123" y="722"/>
                        </a:lnTo>
                        <a:lnTo>
                          <a:pt x="108" y="717"/>
                        </a:lnTo>
                        <a:lnTo>
                          <a:pt x="101" y="717"/>
                        </a:lnTo>
                        <a:lnTo>
                          <a:pt x="87" y="722"/>
                        </a:lnTo>
                        <a:lnTo>
                          <a:pt x="82" y="722"/>
                        </a:lnTo>
                        <a:lnTo>
                          <a:pt x="61" y="710"/>
                        </a:lnTo>
                        <a:lnTo>
                          <a:pt x="49" y="703"/>
                        </a:lnTo>
                        <a:lnTo>
                          <a:pt x="45" y="693"/>
                        </a:lnTo>
                        <a:lnTo>
                          <a:pt x="42" y="670"/>
                        </a:lnTo>
                        <a:lnTo>
                          <a:pt x="40" y="658"/>
                        </a:lnTo>
                        <a:lnTo>
                          <a:pt x="30" y="653"/>
                        </a:lnTo>
                        <a:lnTo>
                          <a:pt x="21" y="653"/>
                        </a:lnTo>
                        <a:lnTo>
                          <a:pt x="16" y="651"/>
                        </a:lnTo>
                        <a:lnTo>
                          <a:pt x="14" y="644"/>
                        </a:lnTo>
                        <a:lnTo>
                          <a:pt x="11" y="641"/>
                        </a:lnTo>
                        <a:lnTo>
                          <a:pt x="11" y="636"/>
                        </a:lnTo>
                        <a:lnTo>
                          <a:pt x="11" y="634"/>
                        </a:lnTo>
                        <a:lnTo>
                          <a:pt x="7" y="629"/>
                        </a:lnTo>
                        <a:lnTo>
                          <a:pt x="0" y="622"/>
                        </a:lnTo>
                        <a:lnTo>
                          <a:pt x="2" y="618"/>
                        </a:lnTo>
                        <a:lnTo>
                          <a:pt x="9" y="613"/>
                        </a:lnTo>
                        <a:lnTo>
                          <a:pt x="19" y="606"/>
                        </a:lnTo>
                        <a:lnTo>
                          <a:pt x="21" y="606"/>
                        </a:lnTo>
                        <a:lnTo>
                          <a:pt x="26" y="606"/>
                        </a:lnTo>
                        <a:lnTo>
                          <a:pt x="28" y="603"/>
                        </a:lnTo>
                        <a:lnTo>
                          <a:pt x="30" y="603"/>
                        </a:lnTo>
                        <a:lnTo>
                          <a:pt x="35" y="599"/>
                        </a:lnTo>
                        <a:lnTo>
                          <a:pt x="38" y="596"/>
                        </a:lnTo>
                        <a:lnTo>
                          <a:pt x="49" y="599"/>
                        </a:lnTo>
                        <a:lnTo>
                          <a:pt x="61" y="603"/>
                        </a:lnTo>
                        <a:lnTo>
                          <a:pt x="71" y="606"/>
                        </a:lnTo>
                        <a:lnTo>
                          <a:pt x="80" y="601"/>
                        </a:lnTo>
                        <a:lnTo>
                          <a:pt x="80" y="596"/>
                        </a:lnTo>
                        <a:lnTo>
                          <a:pt x="80" y="596"/>
                        </a:lnTo>
                        <a:lnTo>
                          <a:pt x="78" y="594"/>
                        </a:lnTo>
                        <a:lnTo>
                          <a:pt x="78" y="589"/>
                        </a:lnTo>
                        <a:lnTo>
                          <a:pt x="80" y="589"/>
                        </a:lnTo>
                        <a:lnTo>
                          <a:pt x="87" y="587"/>
                        </a:lnTo>
                        <a:lnTo>
                          <a:pt x="90" y="587"/>
                        </a:lnTo>
                        <a:lnTo>
                          <a:pt x="94" y="582"/>
                        </a:lnTo>
                        <a:lnTo>
                          <a:pt x="99" y="573"/>
                        </a:lnTo>
                        <a:lnTo>
                          <a:pt x="104" y="568"/>
                        </a:lnTo>
                        <a:lnTo>
                          <a:pt x="113" y="563"/>
                        </a:lnTo>
                        <a:lnTo>
                          <a:pt x="123" y="558"/>
                        </a:lnTo>
                        <a:lnTo>
                          <a:pt x="125" y="561"/>
                        </a:lnTo>
                        <a:lnTo>
                          <a:pt x="130" y="563"/>
                        </a:lnTo>
                        <a:lnTo>
                          <a:pt x="132" y="566"/>
                        </a:lnTo>
                        <a:lnTo>
                          <a:pt x="132" y="563"/>
                        </a:lnTo>
                        <a:lnTo>
                          <a:pt x="137" y="551"/>
                        </a:lnTo>
                        <a:lnTo>
                          <a:pt x="146" y="544"/>
                        </a:lnTo>
                        <a:lnTo>
                          <a:pt x="144" y="537"/>
                        </a:lnTo>
                        <a:lnTo>
                          <a:pt x="142" y="528"/>
                        </a:lnTo>
                        <a:lnTo>
                          <a:pt x="139" y="516"/>
                        </a:lnTo>
                        <a:lnTo>
                          <a:pt x="139" y="513"/>
                        </a:lnTo>
                        <a:lnTo>
                          <a:pt x="149" y="502"/>
                        </a:lnTo>
                        <a:lnTo>
                          <a:pt x="153" y="490"/>
                        </a:lnTo>
                        <a:lnTo>
                          <a:pt x="156" y="483"/>
                        </a:lnTo>
                        <a:lnTo>
                          <a:pt x="156" y="478"/>
                        </a:lnTo>
                        <a:lnTo>
                          <a:pt x="153" y="476"/>
                        </a:lnTo>
                        <a:lnTo>
                          <a:pt x="139" y="471"/>
                        </a:lnTo>
                        <a:lnTo>
                          <a:pt x="135" y="468"/>
                        </a:lnTo>
                        <a:lnTo>
                          <a:pt x="132" y="464"/>
                        </a:lnTo>
                        <a:lnTo>
                          <a:pt x="130" y="459"/>
                        </a:lnTo>
                        <a:lnTo>
                          <a:pt x="127" y="457"/>
                        </a:lnTo>
                        <a:lnTo>
                          <a:pt x="132" y="452"/>
                        </a:lnTo>
                        <a:lnTo>
                          <a:pt x="144" y="435"/>
                        </a:lnTo>
                        <a:lnTo>
                          <a:pt x="144" y="435"/>
                        </a:lnTo>
                        <a:lnTo>
                          <a:pt x="146" y="435"/>
                        </a:lnTo>
                        <a:lnTo>
                          <a:pt x="146" y="438"/>
                        </a:lnTo>
                        <a:lnTo>
                          <a:pt x="146" y="440"/>
                        </a:lnTo>
                        <a:lnTo>
                          <a:pt x="146" y="440"/>
                        </a:lnTo>
                        <a:lnTo>
                          <a:pt x="146" y="442"/>
                        </a:lnTo>
                        <a:lnTo>
                          <a:pt x="146" y="442"/>
                        </a:lnTo>
                        <a:lnTo>
                          <a:pt x="146" y="442"/>
                        </a:lnTo>
                        <a:lnTo>
                          <a:pt x="149" y="445"/>
                        </a:lnTo>
                        <a:lnTo>
                          <a:pt x="153" y="445"/>
                        </a:lnTo>
                        <a:lnTo>
                          <a:pt x="168" y="445"/>
                        </a:lnTo>
                        <a:lnTo>
                          <a:pt x="172" y="445"/>
                        </a:lnTo>
                        <a:lnTo>
                          <a:pt x="175" y="445"/>
                        </a:lnTo>
                        <a:lnTo>
                          <a:pt x="175" y="442"/>
                        </a:lnTo>
                        <a:lnTo>
                          <a:pt x="217" y="424"/>
                        </a:lnTo>
                        <a:lnTo>
                          <a:pt x="220" y="424"/>
                        </a:lnTo>
                        <a:lnTo>
                          <a:pt x="222" y="419"/>
                        </a:lnTo>
                        <a:lnTo>
                          <a:pt x="224" y="416"/>
                        </a:lnTo>
                        <a:lnTo>
                          <a:pt x="229" y="414"/>
                        </a:lnTo>
                        <a:lnTo>
                          <a:pt x="232" y="412"/>
                        </a:lnTo>
                        <a:lnTo>
                          <a:pt x="234" y="407"/>
                        </a:lnTo>
                        <a:lnTo>
                          <a:pt x="239" y="400"/>
                        </a:lnTo>
                        <a:lnTo>
                          <a:pt x="241" y="400"/>
                        </a:lnTo>
                        <a:lnTo>
                          <a:pt x="243" y="398"/>
                        </a:lnTo>
                        <a:lnTo>
                          <a:pt x="248" y="398"/>
                        </a:lnTo>
                        <a:lnTo>
                          <a:pt x="253" y="398"/>
                        </a:lnTo>
                        <a:lnTo>
                          <a:pt x="255" y="395"/>
                        </a:lnTo>
                        <a:lnTo>
                          <a:pt x="258" y="393"/>
                        </a:lnTo>
                        <a:lnTo>
                          <a:pt x="260" y="393"/>
                        </a:lnTo>
                        <a:lnTo>
                          <a:pt x="262" y="390"/>
                        </a:lnTo>
                        <a:lnTo>
                          <a:pt x="293" y="395"/>
                        </a:lnTo>
                        <a:lnTo>
                          <a:pt x="293" y="395"/>
                        </a:lnTo>
                        <a:lnTo>
                          <a:pt x="295" y="395"/>
                        </a:lnTo>
                        <a:lnTo>
                          <a:pt x="298" y="398"/>
                        </a:lnTo>
                        <a:lnTo>
                          <a:pt x="302" y="400"/>
                        </a:lnTo>
                        <a:lnTo>
                          <a:pt x="319" y="398"/>
                        </a:lnTo>
                        <a:lnTo>
                          <a:pt x="321" y="398"/>
                        </a:lnTo>
                        <a:lnTo>
                          <a:pt x="324" y="398"/>
                        </a:lnTo>
                        <a:lnTo>
                          <a:pt x="326" y="395"/>
                        </a:lnTo>
                        <a:lnTo>
                          <a:pt x="333" y="388"/>
                        </a:lnTo>
                        <a:lnTo>
                          <a:pt x="362" y="376"/>
                        </a:lnTo>
                        <a:lnTo>
                          <a:pt x="369" y="362"/>
                        </a:lnTo>
                        <a:lnTo>
                          <a:pt x="371" y="355"/>
                        </a:lnTo>
                        <a:lnTo>
                          <a:pt x="371" y="355"/>
                        </a:lnTo>
                        <a:lnTo>
                          <a:pt x="371" y="353"/>
                        </a:lnTo>
                        <a:lnTo>
                          <a:pt x="369" y="350"/>
                        </a:lnTo>
                        <a:lnTo>
                          <a:pt x="369" y="345"/>
                        </a:lnTo>
                        <a:lnTo>
                          <a:pt x="366" y="341"/>
                        </a:lnTo>
                        <a:lnTo>
                          <a:pt x="366" y="327"/>
                        </a:lnTo>
                        <a:lnTo>
                          <a:pt x="366" y="322"/>
                        </a:lnTo>
                        <a:lnTo>
                          <a:pt x="366" y="317"/>
                        </a:lnTo>
                        <a:lnTo>
                          <a:pt x="364" y="317"/>
                        </a:lnTo>
                        <a:lnTo>
                          <a:pt x="359" y="315"/>
                        </a:lnTo>
                        <a:lnTo>
                          <a:pt x="357" y="312"/>
                        </a:lnTo>
                        <a:lnTo>
                          <a:pt x="355" y="312"/>
                        </a:lnTo>
                        <a:lnTo>
                          <a:pt x="355" y="310"/>
                        </a:lnTo>
                        <a:lnTo>
                          <a:pt x="352" y="308"/>
                        </a:lnTo>
                        <a:lnTo>
                          <a:pt x="352" y="301"/>
                        </a:lnTo>
                        <a:lnTo>
                          <a:pt x="350" y="298"/>
                        </a:lnTo>
                        <a:lnTo>
                          <a:pt x="347" y="291"/>
                        </a:lnTo>
                        <a:lnTo>
                          <a:pt x="347" y="284"/>
                        </a:lnTo>
                        <a:lnTo>
                          <a:pt x="345" y="272"/>
                        </a:lnTo>
                        <a:lnTo>
                          <a:pt x="338" y="248"/>
                        </a:lnTo>
                        <a:lnTo>
                          <a:pt x="338" y="244"/>
                        </a:lnTo>
                        <a:lnTo>
                          <a:pt x="338" y="244"/>
                        </a:lnTo>
                        <a:lnTo>
                          <a:pt x="340" y="241"/>
                        </a:lnTo>
                        <a:lnTo>
                          <a:pt x="338" y="234"/>
                        </a:lnTo>
                        <a:lnTo>
                          <a:pt x="343" y="220"/>
                        </a:lnTo>
                        <a:lnTo>
                          <a:pt x="350" y="215"/>
                        </a:lnTo>
                        <a:lnTo>
                          <a:pt x="371" y="208"/>
                        </a:lnTo>
                        <a:lnTo>
                          <a:pt x="373" y="206"/>
                        </a:lnTo>
                        <a:lnTo>
                          <a:pt x="376" y="204"/>
                        </a:lnTo>
                        <a:lnTo>
                          <a:pt x="378" y="199"/>
                        </a:lnTo>
                        <a:lnTo>
                          <a:pt x="378" y="199"/>
                        </a:lnTo>
                        <a:lnTo>
                          <a:pt x="381" y="192"/>
                        </a:lnTo>
                        <a:lnTo>
                          <a:pt x="381" y="192"/>
                        </a:lnTo>
                        <a:lnTo>
                          <a:pt x="383" y="177"/>
                        </a:lnTo>
                        <a:lnTo>
                          <a:pt x="381" y="173"/>
                        </a:lnTo>
                        <a:lnTo>
                          <a:pt x="381" y="168"/>
                        </a:lnTo>
                        <a:lnTo>
                          <a:pt x="383" y="163"/>
                        </a:lnTo>
                        <a:lnTo>
                          <a:pt x="385" y="161"/>
                        </a:lnTo>
                        <a:lnTo>
                          <a:pt x="392" y="161"/>
                        </a:lnTo>
                        <a:lnTo>
                          <a:pt x="395" y="159"/>
                        </a:lnTo>
                        <a:lnTo>
                          <a:pt x="407" y="147"/>
                        </a:lnTo>
                        <a:lnTo>
                          <a:pt x="411" y="133"/>
                        </a:lnTo>
                        <a:lnTo>
                          <a:pt x="409" y="116"/>
                        </a:lnTo>
                        <a:lnTo>
                          <a:pt x="399" y="102"/>
                        </a:lnTo>
                        <a:lnTo>
                          <a:pt x="392" y="95"/>
                        </a:lnTo>
                        <a:lnTo>
                          <a:pt x="390" y="95"/>
                        </a:lnTo>
                        <a:lnTo>
                          <a:pt x="392" y="90"/>
                        </a:lnTo>
                        <a:lnTo>
                          <a:pt x="395" y="85"/>
                        </a:lnTo>
                        <a:lnTo>
                          <a:pt x="399" y="80"/>
                        </a:lnTo>
                        <a:lnTo>
                          <a:pt x="404" y="76"/>
                        </a:lnTo>
                        <a:lnTo>
                          <a:pt x="418" y="71"/>
                        </a:lnTo>
                        <a:lnTo>
                          <a:pt x="423" y="66"/>
                        </a:lnTo>
                        <a:lnTo>
                          <a:pt x="435" y="45"/>
                        </a:lnTo>
                        <a:lnTo>
                          <a:pt x="442" y="40"/>
                        </a:lnTo>
                        <a:lnTo>
                          <a:pt x="447" y="38"/>
                        </a:lnTo>
                        <a:lnTo>
                          <a:pt x="449" y="36"/>
                        </a:lnTo>
                        <a:lnTo>
                          <a:pt x="449" y="31"/>
                        </a:lnTo>
                        <a:lnTo>
                          <a:pt x="449" y="26"/>
                        </a:lnTo>
                        <a:lnTo>
                          <a:pt x="447" y="24"/>
                        </a:lnTo>
                        <a:lnTo>
                          <a:pt x="447" y="24"/>
                        </a:lnTo>
                        <a:lnTo>
                          <a:pt x="447" y="17"/>
                        </a:lnTo>
                        <a:lnTo>
                          <a:pt x="454" y="10"/>
                        </a:lnTo>
                        <a:lnTo>
                          <a:pt x="461" y="5"/>
                        </a:lnTo>
                        <a:lnTo>
                          <a:pt x="478" y="0"/>
                        </a:lnTo>
                        <a:lnTo>
                          <a:pt x="485" y="0"/>
                        </a:lnTo>
                        <a:lnTo>
                          <a:pt x="489" y="5"/>
                        </a:lnTo>
                        <a:lnTo>
                          <a:pt x="492" y="14"/>
                        </a:lnTo>
                        <a:lnTo>
                          <a:pt x="494" y="28"/>
                        </a:lnTo>
                        <a:lnTo>
                          <a:pt x="494" y="40"/>
                        </a:lnTo>
                        <a:lnTo>
                          <a:pt x="492" y="64"/>
                        </a:lnTo>
                        <a:lnTo>
                          <a:pt x="492" y="73"/>
                        </a:lnTo>
                        <a:lnTo>
                          <a:pt x="494" y="85"/>
                        </a:lnTo>
                        <a:lnTo>
                          <a:pt x="499" y="90"/>
                        </a:lnTo>
                        <a:lnTo>
                          <a:pt x="504" y="95"/>
                        </a:lnTo>
                        <a:lnTo>
                          <a:pt x="511" y="97"/>
                        </a:lnTo>
                        <a:lnTo>
                          <a:pt x="520" y="99"/>
                        </a:lnTo>
                        <a:lnTo>
                          <a:pt x="530" y="109"/>
                        </a:lnTo>
                        <a:lnTo>
                          <a:pt x="551" y="133"/>
                        </a:lnTo>
                        <a:lnTo>
                          <a:pt x="553" y="135"/>
                        </a:lnTo>
                        <a:lnTo>
                          <a:pt x="560" y="135"/>
                        </a:lnTo>
                        <a:lnTo>
                          <a:pt x="575" y="142"/>
                        </a:lnTo>
                        <a:lnTo>
                          <a:pt x="579" y="142"/>
                        </a:lnTo>
                        <a:lnTo>
                          <a:pt x="582" y="140"/>
                        </a:lnTo>
                        <a:lnTo>
                          <a:pt x="586" y="137"/>
                        </a:lnTo>
                        <a:lnTo>
                          <a:pt x="586" y="135"/>
                        </a:lnTo>
                        <a:lnTo>
                          <a:pt x="589" y="135"/>
                        </a:lnTo>
                        <a:lnTo>
                          <a:pt x="593" y="161"/>
                        </a:lnTo>
                        <a:lnTo>
                          <a:pt x="593" y="163"/>
                        </a:lnTo>
                        <a:lnTo>
                          <a:pt x="593" y="168"/>
                        </a:lnTo>
                        <a:lnTo>
                          <a:pt x="593" y="173"/>
                        </a:lnTo>
                        <a:lnTo>
                          <a:pt x="591" y="175"/>
                        </a:lnTo>
                        <a:lnTo>
                          <a:pt x="591" y="177"/>
                        </a:lnTo>
                        <a:lnTo>
                          <a:pt x="558" y="220"/>
                        </a:lnTo>
                        <a:lnTo>
                          <a:pt x="558" y="222"/>
                        </a:lnTo>
                        <a:lnTo>
                          <a:pt x="558" y="225"/>
                        </a:lnTo>
                        <a:lnTo>
                          <a:pt x="558" y="227"/>
                        </a:lnTo>
                        <a:lnTo>
                          <a:pt x="558" y="234"/>
                        </a:lnTo>
                        <a:lnTo>
                          <a:pt x="563" y="241"/>
                        </a:lnTo>
                        <a:lnTo>
                          <a:pt x="565" y="253"/>
                        </a:lnTo>
                        <a:lnTo>
                          <a:pt x="565" y="258"/>
                        </a:lnTo>
                        <a:lnTo>
                          <a:pt x="565" y="258"/>
                        </a:lnTo>
                        <a:lnTo>
                          <a:pt x="563" y="260"/>
                        </a:lnTo>
                        <a:lnTo>
                          <a:pt x="563" y="260"/>
                        </a:lnTo>
                        <a:lnTo>
                          <a:pt x="563" y="263"/>
                        </a:lnTo>
                        <a:lnTo>
                          <a:pt x="558" y="267"/>
                        </a:lnTo>
                        <a:lnTo>
                          <a:pt x="556" y="270"/>
                        </a:lnTo>
                        <a:lnTo>
                          <a:pt x="556" y="272"/>
                        </a:lnTo>
                        <a:lnTo>
                          <a:pt x="556" y="272"/>
                        </a:lnTo>
                        <a:lnTo>
                          <a:pt x="556" y="277"/>
                        </a:lnTo>
                        <a:lnTo>
                          <a:pt x="560" y="282"/>
                        </a:lnTo>
                        <a:lnTo>
                          <a:pt x="567" y="293"/>
                        </a:lnTo>
                        <a:lnTo>
                          <a:pt x="570" y="298"/>
                        </a:lnTo>
                        <a:lnTo>
                          <a:pt x="575" y="301"/>
                        </a:lnTo>
                        <a:lnTo>
                          <a:pt x="579" y="303"/>
                        </a:lnTo>
                        <a:lnTo>
                          <a:pt x="582" y="303"/>
                        </a:lnTo>
                        <a:lnTo>
                          <a:pt x="584" y="305"/>
                        </a:lnTo>
                        <a:lnTo>
                          <a:pt x="584" y="305"/>
                        </a:lnTo>
                        <a:lnTo>
                          <a:pt x="584" y="310"/>
                        </a:lnTo>
                        <a:lnTo>
                          <a:pt x="584" y="312"/>
                        </a:lnTo>
                        <a:lnTo>
                          <a:pt x="584" y="317"/>
                        </a:lnTo>
                        <a:lnTo>
                          <a:pt x="584" y="319"/>
                        </a:lnTo>
                        <a:lnTo>
                          <a:pt x="586" y="319"/>
                        </a:lnTo>
                        <a:lnTo>
                          <a:pt x="586" y="322"/>
                        </a:lnTo>
                        <a:lnTo>
                          <a:pt x="589" y="322"/>
                        </a:lnTo>
                        <a:lnTo>
                          <a:pt x="591" y="319"/>
                        </a:lnTo>
                        <a:lnTo>
                          <a:pt x="593" y="322"/>
                        </a:lnTo>
                        <a:lnTo>
                          <a:pt x="593" y="322"/>
                        </a:lnTo>
                        <a:lnTo>
                          <a:pt x="593" y="324"/>
                        </a:lnTo>
                        <a:lnTo>
                          <a:pt x="593" y="327"/>
                        </a:lnTo>
                        <a:lnTo>
                          <a:pt x="596" y="329"/>
                        </a:lnTo>
                        <a:lnTo>
                          <a:pt x="596" y="331"/>
                        </a:lnTo>
                        <a:lnTo>
                          <a:pt x="596" y="334"/>
                        </a:lnTo>
                        <a:lnTo>
                          <a:pt x="596" y="336"/>
                        </a:lnTo>
                        <a:lnTo>
                          <a:pt x="593" y="336"/>
                        </a:lnTo>
                        <a:lnTo>
                          <a:pt x="593" y="336"/>
                        </a:lnTo>
                        <a:lnTo>
                          <a:pt x="591" y="336"/>
                        </a:lnTo>
                        <a:lnTo>
                          <a:pt x="591" y="338"/>
                        </a:lnTo>
                        <a:lnTo>
                          <a:pt x="593" y="341"/>
                        </a:lnTo>
                        <a:lnTo>
                          <a:pt x="603" y="350"/>
                        </a:lnTo>
                        <a:lnTo>
                          <a:pt x="603" y="350"/>
                        </a:lnTo>
                        <a:lnTo>
                          <a:pt x="603" y="353"/>
                        </a:lnTo>
                        <a:lnTo>
                          <a:pt x="603" y="362"/>
                        </a:lnTo>
                        <a:lnTo>
                          <a:pt x="608" y="364"/>
                        </a:lnTo>
                        <a:lnTo>
                          <a:pt x="608" y="369"/>
                        </a:lnTo>
                        <a:lnTo>
                          <a:pt x="608" y="371"/>
                        </a:lnTo>
                        <a:lnTo>
                          <a:pt x="608" y="374"/>
                        </a:lnTo>
                        <a:lnTo>
                          <a:pt x="610" y="379"/>
                        </a:lnTo>
                        <a:lnTo>
                          <a:pt x="612" y="381"/>
                        </a:lnTo>
                        <a:lnTo>
                          <a:pt x="612" y="386"/>
                        </a:lnTo>
                        <a:lnTo>
                          <a:pt x="615" y="386"/>
                        </a:lnTo>
                        <a:lnTo>
                          <a:pt x="617" y="388"/>
                        </a:lnTo>
                        <a:lnTo>
                          <a:pt x="622" y="393"/>
                        </a:lnTo>
                        <a:lnTo>
                          <a:pt x="629" y="395"/>
                        </a:lnTo>
                        <a:lnTo>
                          <a:pt x="631" y="395"/>
                        </a:lnTo>
                        <a:lnTo>
                          <a:pt x="631" y="398"/>
                        </a:lnTo>
                        <a:lnTo>
                          <a:pt x="636" y="402"/>
                        </a:lnTo>
                        <a:lnTo>
                          <a:pt x="645" y="421"/>
                        </a:lnTo>
                        <a:lnTo>
                          <a:pt x="645" y="424"/>
                        </a:lnTo>
                        <a:lnTo>
                          <a:pt x="653" y="431"/>
                        </a:lnTo>
                        <a:lnTo>
                          <a:pt x="634" y="440"/>
                        </a:lnTo>
                        <a:lnTo>
                          <a:pt x="624" y="447"/>
                        </a:lnTo>
                        <a:lnTo>
                          <a:pt x="624" y="447"/>
                        </a:lnTo>
                        <a:lnTo>
                          <a:pt x="627" y="450"/>
                        </a:lnTo>
                        <a:lnTo>
                          <a:pt x="629" y="450"/>
                        </a:lnTo>
                        <a:lnTo>
                          <a:pt x="631" y="452"/>
                        </a:lnTo>
                        <a:lnTo>
                          <a:pt x="631" y="452"/>
                        </a:lnTo>
                        <a:lnTo>
                          <a:pt x="631" y="454"/>
                        </a:lnTo>
                        <a:lnTo>
                          <a:pt x="631" y="454"/>
                        </a:lnTo>
                        <a:lnTo>
                          <a:pt x="631" y="457"/>
                        </a:lnTo>
                        <a:lnTo>
                          <a:pt x="624" y="461"/>
                        </a:lnTo>
                        <a:lnTo>
                          <a:pt x="622" y="464"/>
                        </a:lnTo>
                        <a:lnTo>
                          <a:pt x="619" y="466"/>
                        </a:lnTo>
                        <a:lnTo>
                          <a:pt x="619" y="466"/>
                        </a:lnTo>
                        <a:lnTo>
                          <a:pt x="619" y="468"/>
                        </a:lnTo>
                        <a:lnTo>
                          <a:pt x="619" y="471"/>
                        </a:lnTo>
                        <a:lnTo>
                          <a:pt x="619" y="476"/>
                        </a:lnTo>
                        <a:lnTo>
                          <a:pt x="619" y="476"/>
                        </a:lnTo>
                        <a:lnTo>
                          <a:pt x="619" y="478"/>
                        </a:lnTo>
                        <a:lnTo>
                          <a:pt x="617" y="478"/>
                        </a:lnTo>
                        <a:lnTo>
                          <a:pt x="615" y="478"/>
                        </a:lnTo>
                        <a:lnTo>
                          <a:pt x="610" y="478"/>
                        </a:lnTo>
                        <a:lnTo>
                          <a:pt x="608" y="476"/>
                        </a:lnTo>
                        <a:lnTo>
                          <a:pt x="605" y="473"/>
                        </a:lnTo>
                        <a:lnTo>
                          <a:pt x="598" y="464"/>
                        </a:lnTo>
                        <a:lnTo>
                          <a:pt x="598" y="461"/>
                        </a:lnTo>
                        <a:lnTo>
                          <a:pt x="596" y="459"/>
                        </a:lnTo>
                        <a:lnTo>
                          <a:pt x="593" y="459"/>
                        </a:lnTo>
                        <a:lnTo>
                          <a:pt x="593" y="459"/>
                        </a:lnTo>
                        <a:lnTo>
                          <a:pt x="591" y="457"/>
                        </a:lnTo>
                        <a:lnTo>
                          <a:pt x="577" y="457"/>
                        </a:lnTo>
                        <a:lnTo>
                          <a:pt x="572" y="457"/>
                        </a:lnTo>
                        <a:lnTo>
                          <a:pt x="570" y="457"/>
                        </a:lnTo>
                        <a:lnTo>
                          <a:pt x="570" y="457"/>
                        </a:lnTo>
                        <a:lnTo>
                          <a:pt x="567" y="459"/>
                        </a:lnTo>
                        <a:lnTo>
                          <a:pt x="567" y="464"/>
                        </a:lnTo>
                        <a:lnTo>
                          <a:pt x="565" y="468"/>
                        </a:lnTo>
                        <a:lnTo>
                          <a:pt x="565" y="476"/>
                        </a:lnTo>
                        <a:lnTo>
                          <a:pt x="560" y="480"/>
                        </a:lnTo>
                        <a:lnTo>
                          <a:pt x="560" y="485"/>
                        </a:lnTo>
                        <a:lnTo>
                          <a:pt x="558" y="487"/>
                        </a:lnTo>
                        <a:lnTo>
                          <a:pt x="558" y="487"/>
                        </a:lnTo>
                        <a:lnTo>
                          <a:pt x="558" y="490"/>
                        </a:lnTo>
                        <a:lnTo>
                          <a:pt x="558" y="492"/>
                        </a:lnTo>
                        <a:lnTo>
                          <a:pt x="560" y="492"/>
                        </a:lnTo>
                        <a:lnTo>
                          <a:pt x="563" y="495"/>
                        </a:lnTo>
                        <a:lnTo>
                          <a:pt x="565" y="495"/>
                        </a:lnTo>
                        <a:lnTo>
                          <a:pt x="565" y="497"/>
                        </a:lnTo>
                        <a:lnTo>
                          <a:pt x="567" y="506"/>
                        </a:lnTo>
                        <a:lnTo>
                          <a:pt x="567" y="509"/>
                        </a:lnTo>
                        <a:lnTo>
                          <a:pt x="570" y="509"/>
                        </a:lnTo>
                        <a:lnTo>
                          <a:pt x="570" y="511"/>
                        </a:lnTo>
                        <a:lnTo>
                          <a:pt x="572" y="511"/>
                        </a:lnTo>
                        <a:lnTo>
                          <a:pt x="572" y="516"/>
                        </a:lnTo>
                        <a:lnTo>
                          <a:pt x="572" y="518"/>
                        </a:lnTo>
                        <a:lnTo>
                          <a:pt x="572" y="521"/>
                        </a:lnTo>
                        <a:lnTo>
                          <a:pt x="575" y="525"/>
                        </a:lnTo>
                        <a:lnTo>
                          <a:pt x="577" y="525"/>
                        </a:lnTo>
                        <a:lnTo>
                          <a:pt x="579" y="528"/>
                        </a:lnTo>
                        <a:lnTo>
                          <a:pt x="579" y="528"/>
                        </a:lnTo>
                        <a:lnTo>
                          <a:pt x="582" y="530"/>
                        </a:lnTo>
                        <a:lnTo>
                          <a:pt x="579" y="537"/>
                        </a:lnTo>
                        <a:lnTo>
                          <a:pt x="579" y="539"/>
                        </a:lnTo>
                        <a:lnTo>
                          <a:pt x="582" y="542"/>
                        </a:lnTo>
                        <a:lnTo>
                          <a:pt x="584" y="547"/>
                        </a:lnTo>
                        <a:lnTo>
                          <a:pt x="584" y="547"/>
                        </a:lnTo>
                        <a:lnTo>
                          <a:pt x="589" y="554"/>
                        </a:lnTo>
                        <a:lnTo>
                          <a:pt x="598" y="566"/>
                        </a:lnTo>
                        <a:lnTo>
                          <a:pt x="608" y="584"/>
                        </a:lnTo>
                        <a:lnTo>
                          <a:pt x="612" y="592"/>
                        </a:lnTo>
                        <a:lnTo>
                          <a:pt x="622" y="599"/>
                        </a:lnTo>
                        <a:lnTo>
                          <a:pt x="624" y="594"/>
                        </a:lnTo>
                        <a:lnTo>
                          <a:pt x="629" y="594"/>
                        </a:lnTo>
                        <a:lnTo>
                          <a:pt x="634" y="596"/>
                        </a:lnTo>
                        <a:lnTo>
                          <a:pt x="645" y="596"/>
                        </a:lnTo>
                        <a:lnTo>
                          <a:pt x="653" y="594"/>
                        </a:lnTo>
                        <a:lnTo>
                          <a:pt x="669" y="580"/>
                        </a:lnTo>
                        <a:lnTo>
                          <a:pt x="674" y="577"/>
                        </a:lnTo>
                        <a:lnTo>
                          <a:pt x="681" y="580"/>
                        </a:lnTo>
                        <a:lnTo>
                          <a:pt x="683" y="580"/>
                        </a:lnTo>
                        <a:lnTo>
                          <a:pt x="683" y="582"/>
                        </a:lnTo>
                        <a:lnTo>
                          <a:pt x="683" y="592"/>
                        </a:lnTo>
                        <a:lnTo>
                          <a:pt x="683" y="594"/>
                        </a:lnTo>
                        <a:lnTo>
                          <a:pt x="683" y="596"/>
                        </a:lnTo>
                        <a:lnTo>
                          <a:pt x="683" y="596"/>
                        </a:lnTo>
                        <a:lnTo>
                          <a:pt x="686" y="599"/>
                        </a:lnTo>
                        <a:lnTo>
                          <a:pt x="686" y="601"/>
                        </a:lnTo>
                        <a:lnTo>
                          <a:pt x="686" y="601"/>
                        </a:lnTo>
                        <a:lnTo>
                          <a:pt x="686" y="601"/>
                        </a:lnTo>
                        <a:lnTo>
                          <a:pt x="690" y="603"/>
                        </a:lnTo>
                        <a:lnTo>
                          <a:pt x="693" y="606"/>
                        </a:lnTo>
                        <a:lnTo>
                          <a:pt x="695" y="606"/>
                        </a:lnTo>
                        <a:lnTo>
                          <a:pt x="705" y="606"/>
                        </a:lnTo>
                        <a:lnTo>
                          <a:pt x="707" y="606"/>
                        </a:lnTo>
                        <a:lnTo>
                          <a:pt x="709" y="606"/>
                        </a:lnTo>
                        <a:lnTo>
                          <a:pt x="709" y="608"/>
                        </a:lnTo>
                        <a:lnTo>
                          <a:pt x="712" y="608"/>
                        </a:lnTo>
                        <a:lnTo>
                          <a:pt x="712" y="610"/>
                        </a:lnTo>
                        <a:lnTo>
                          <a:pt x="714" y="613"/>
                        </a:lnTo>
                        <a:lnTo>
                          <a:pt x="714" y="615"/>
                        </a:lnTo>
                        <a:lnTo>
                          <a:pt x="714" y="618"/>
                        </a:lnTo>
                        <a:lnTo>
                          <a:pt x="714" y="622"/>
                        </a:lnTo>
                        <a:lnTo>
                          <a:pt x="716" y="625"/>
                        </a:lnTo>
                        <a:lnTo>
                          <a:pt x="716" y="627"/>
                        </a:lnTo>
                        <a:lnTo>
                          <a:pt x="724" y="632"/>
                        </a:lnTo>
                        <a:lnTo>
                          <a:pt x="742" y="646"/>
                        </a:lnTo>
                        <a:lnTo>
                          <a:pt x="742" y="646"/>
                        </a:lnTo>
                        <a:lnTo>
                          <a:pt x="742" y="648"/>
                        </a:lnTo>
                        <a:lnTo>
                          <a:pt x="745" y="651"/>
                        </a:lnTo>
                        <a:lnTo>
                          <a:pt x="742" y="653"/>
                        </a:lnTo>
                        <a:lnTo>
                          <a:pt x="742" y="655"/>
                        </a:lnTo>
                        <a:lnTo>
                          <a:pt x="742" y="658"/>
                        </a:lnTo>
                        <a:lnTo>
                          <a:pt x="742" y="658"/>
                        </a:lnTo>
                        <a:lnTo>
                          <a:pt x="742" y="660"/>
                        </a:lnTo>
                        <a:lnTo>
                          <a:pt x="745" y="663"/>
                        </a:lnTo>
                        <a:lnTo>
                          <a:pt x="747" y="665"/>
                        </a:lnTo>
                        <a:lnTo>
                          <a:pt x="752" y="670"/>
                        </a:lnTo>
                        <a:lnTo>
                          <a:pt x="754" y="672"/>
                        </a:lnTo>
                        <a:lnTo>
                          <a:pt x="757" y="672"/>
                        </a:lnTo>
                        <a:lnTo>
                          <a:pt x="764" y="670"/>
                        </a:lnTo>
                        <a:lnTo>
                          <a:pt x="771" y="672"/>
                        </a:lnTo>
                        <a:lnTo>
                          <a:pt x="773" y="672"/>
                        </a:lnTo>
                        <a:lnTo>
                          <a:pt x="776" y="672"/>
                        </a:lnTo>
                        <a:lnTo>
                          <a:pt x="776" y="672"/>
                        </a:lnTo>
                        <a:lnTo>
                          <a:pt x="778" y="674"/>
                        </a:lnTo>
                        <a:lnTo>
                          <a:pt x="778" y="677"/>
                        </a:lnTo>
                        <a:lnTo>
                          <a:pt x="783" y="684"/>
                        </a:lnTo>
                        <a:lnTo>
                          <a:pt x="790" y="698"/>
                        </a:lnTo>
                        <a:lnTo>
                          <a:pt x="792" y="703"/>
                        </a:lnTo>
                        <a:lnTo>
                          <a:pt x="792" y="703"/>
                        </a:lnTo>
                        <a:lnTo>
                          <a:pt x="795" y="705"/>
                        </a:lnTo>
                        <a:lnTo>
                          <a:pt x="797" y="710"/>
                        </a:lnTo>
                        <a:lnTo>
                          <a:pt x="797" y="726"/>
                        </a:lnTo>
                        <a:lnTo>
                          <a:pt x="799" y="755"/>
                        </a:lnTo>
                        <a:lnTo>
                          <a:pt x="799" y="762"/>
                        </a:lnTo>
                        <a:lnTo>
                          <a:pt x="797" y="764"/>
                        </a:lnTo>
                        <a:lnTo>
                          <a:pt x="795" y="767"/>
                        </a:lnTo>
                        <a:lnTo>
                          <a:pt x="792" y="769"/>
                        </a:lnTo>
                        <a:lnTo>
                          <a:pt x="787" y="769"/>
                        </a:lnTo>
                        <a:lnTo>
                          <a:pt x="785" y="771"/>
                        </a:lnTo>
                        <a:lnTo>
                          <a:pt x="780" y="769"/>
                        </a:lnTo>
                        <a:lnTo>
                          <a:pt x="778" y="769"/>
                        </a:lnTo>
                        <a:lnTo>
                          <a:pt x="776" y="769"/>
                        </a:lnTo>
                        <a:lnTo>
                          <a:pt x="773" y="767"/>
                        </a:lnTo>
                        <a:lnTo>
                          <a:pt x="773" y="767"/>
                        </a:lnTo>
                        <a:lnTo>
                          <a:pt x="773" y="764"/>
                        </a:lnTo>
                        <a:lnTo>
                          <a:pt x="771" y="764"/>
                        </a:lnTo>
                        <a:lnTo>
                          <a:pt x="771" y="760"/>
                        </a:lnTo>
                        <a:lnTo>
                          <a:pt x="769" y="757"/>
                        </a:lnTo>
                        <a:lnTo>
                          <a:pt x="766" y="757"/>
                        </a:lnTo>
                        <a:lnTo>
                          <a:pt x="750" y="752"/>
                        </a:lnTo>
                        <a:lnTo>
                          <a:pt x="747" y="750"/>
                        </a:lnTo>
                        <a:lnTo>
                          <a:pt x="740" y="745"/>
                        </a:lnTo>
                        <a:lnTo>
                          <a:pt x="738" y="743"/>
                        </a:lnTo>
                        <a:lnTo>
                          <a:pt x="731" y="741"/>
                        </a:lnTo>
                        <a:lnTo>
                          <a:pt x="728" y="738"/>
                        </a:lnTo>
                        <a:lnTo>
                          <a:pt x="726" y="738"/>
                        </a:lnTo>
                        <a:lnTo>
                          <a:pt x="724" y="733"/>
                        </a:lnTo>
                        <a:lnTo>
                          <a:pt x="721" y="733"/>
                        </a:lnTo>
                        <a:lnTo>
                          <a:pt x="719" y="733"/>
                        </a:lnTo>
                        <a:lnTo>
                          <a:pt x="714" y="736"/>
                        </a:lnTo>
                        <a:lnTo>
                          <a:pt x="712" y="736"/>
                        </a:lnTo>
                        <a:lnTo>
                          <a:pt x="712" y="736"/>
                        </a:lnTo>
                        <a:lnTo>
                          <a:pt x="709" y="738"/>
                        </a:lnTo>
                        <a:lnTo>
                          <a:pt x="709" y="743"/>
                        </a:lnTo>
                        <a:lnTo>
                          <a:pt x="709" y="745"/>
                        </a:lnTo>
                        <a:lnTo>
                          <a:pt x="709" y="745"/>
                        </a:lnTo>
                        <a:lnTo>
                          <a:pt x="707" y="750"/>
                        </a:lnTo>
                        <a:lnTo>
                          <a:pt x="702" y="755"/>
                        </a:lnTo>
                        <a:lnTo>
                          <a:pt x="700" y="755"/>
                        </a:lnTo>
                        <a:lnTo>
                          <a:pt x="700" y="757"/>
                        </a:lnTo>
                        <a:lnTo>
                          <a:pt x="702" y="757"/>
                        </a:lnTo>
                        <a:lnTo>
                          <a:pt x="702" y="760"/>
                        </a:lnTo>
                        <a:lnTo>
                          <a:pt x="707" y="762"/>
                        </a:lnTo>
                        <a:lnTo>
                          <a:pt x="709" y="764"/>
                        </a:lnTo>
                        <a:lnTo>
                          <a:pt x="712" y="764"/>
                        </a:lnTo>
                        <a:lnTo>
                          <a:pt x="712" y="767"/>
                        </a:lnTo>
                        <a:lnTo>
                          <a:pt x="712" y="767"/>
                        </a:lnTo>
                        <a:lnTo>
                          <a:pt x="712" y="769"/>
                        </a:lnTo>
                        <a:lnTo>
                          <a:pt x="712" y="774"/>
                        </a:lnTo>
                        <a:lnTo>
                          <a:pt x="714" y="778"/>
                        </a:lnTo>
                        <a:lnTo>
                          <a:pt x="714" y="781"/>
                        </a:lnTo>
                        <a:lnTo>
                          <a:pt x="714" y="781"/>
                        </a:lnTo>
                        <a:lnTo>
                          <a:pt x="714" y="783"/>
                        </a:lnTo>
                        <a:lnTo>
                          <a:pt x="712" y="786"/>
                        </a:lnTo>
                        <a:lnTo>
                          <a:pt x="709" y="788"/>
                        </a:lnTo>
                        <a:lnTo>
                          <a:pt x="709" y="788"/>
                        </a:lnTo>
                        <a:lnTo>
                          <a:pt x="702" y="788"/>
                        </a:lnTo>
                        <a:lnTo>
                          <a:pt x="695" y="788"/>
                        </a:lnTo>
                        <a:lnTo>
                          <a:pt x="690" y="790"/>
                        </a:lnTo>
                        <a:lnTo>
                          <a:pt x="690" y="790"/>
                        </a:lnTo>
                        <a:lnTo>
                          <a:pt x="688" y="793"/>
                        </a:lnTo>
                        <a:lnTo>
                          <a:pt x="688" y="797"/>
                        </a:lnTo>
                        <a:lnTo>
                          <a:pt x="688" y="800"/>
                        </a:lnTo>
                        <a:lnTo>
                          <a:pt x="688" y="802"/>
                        </a:lnTo>
                        <a:lnTo>
                          <a:pt x="686" y="802"/>
                        </a:lnTo>
                        <a:lnTo>
                          <a:pt x="686" y="804"/>
                        </a:lnTo>
                        <a:lnTo>
                          <a:pt x="681" y="807"/>
                        </a:lnTo>
                        <a:lnTo>
                          <a:pt x="681" y="809"/>
                        </a:lnTo>
                        <a:lnTo>
                          <a:pt x="679" y="812"/>
                        </a:lnTo>
                        <a:lnTo>
                          <a:pt x="676" y="816"/>
                        </a:lnTo>
                        <a:lnTo>
                          <a:pt x="676" y="816"/>
                        </a:lnTo>
                        <a:lnTo>
                          <a:pt x="676" y="816"/>
                        </a:lnTo>
                        <a:lnTo>
                          <a:pt x="674" y="816"/>
                        </a:lnTo>
                        <a:lnTo>
                          <a:pt x="674" y="816"/>
                        </a:lnTo>
                        <a:lnTo>
                          <a:pt x="674" y="814"/>
                        </a:lnTo>
                        <a:lnTo>
                          <a:pt x="674" y="812"/>
                        </a:lnTo>
                        <a:lnTo>
                          <a:pt x="674" y="807"/>
                        </a:lnTo>
                        <a:lnTo>
                          <a:pt x="674" y="807"/>
                        </a:lnTo>
                        <a:lnTo>
                          <a:pt x="672" y="804"/>
                        </a:lnTo>
                        <a:lnTo>
                          <a:pt x="669" y="802"/>
                        </a:lnTo>
                        <a:lnTo>
                          <a:pt x="669" y="800"/>
                        </a:lnTo>
                        <a:lnTo>
                          <a:pt x="667" y="795"/>
                        </a:lnTo>
                        <a:lnTo>
                          <a:pt x="662" y="793"/>
                        </a:lnTo>
                        <a:lnTo>
                          <a:pt x="662" y="790"/>
                        </a:lnTo>
                        <a:lnTo>
                          <a:pt x="660" y="788"/>
                        </a:lnTo>
                        <a:lnTo>
                          <a:pt x="660" y="786"/>
                        </a:lnTo>
                        <a:lnTo>
                          <a:pt x="657" y="786"/>
                        </a:lnTo>
                        <a:lnTo>
                          <a:pt x="657" y="786"/>
                        </a:lnTo>
                        <a:lnTo>
                          <a:pt x="655" y="783"/>
                        </a:lnTo>
                        <a:lnTo>
                          <a:pt x="629" y="783"/>
                        </a:lnTo>
                        <a:lnTo>
                          <a:pt x="627" y="786"/>
                        </a:lnTo>
                        <a:lnTo>
                          <a:pt x="624" y="786"/>
                        </a:lnTo>
                        <a:lnTo>
                          <a:pt x="624" y="786"/>
                        </a:lnTo>
                        <a:lnTo>
                          <a:pt x="622" y="788"/>
                        </a:lnTo>
                        <a:lnTo>
                          <a:pt x="622" y="790"/>
                        </a:lnTo>
                        <a:lnTo>
                          <a:pt x="622" y="793"/>
                        </a:lnTo>
                        <a:lnTo>
                          <a:pt x="622" y="795"/>
                        </a:lnTo>
                        <a:lnTo>
                          <a:pt x="619" y="797"/>
                        </a:lnTo>
                        <a:lnTo>
                          <a:pt x="619" y="797"/>
                        </a:lnTo>
                        <a:lnTo>
                          <a:pt x="622" y="800"/>
                        </a:lnTo>
                        <a:lnTo>
                          <a:pt x="622" y="800"/>
                        </a:lnTo>
                        <a:lnTo>
                          <a:pt x="622" y="802"/>
                        </a:lnTo>
                        <a:lnTo>
                          <a:pt x="622" y="804"/>
                        </a:lnTo>
                        <a:lnTo>
                          <a:pt x="622" y="804"/>
                        </a:lnTo>
                        <a:lnTo>
                          <a:pt x="622" y="807"/>
                        </a:lnTo>
                        <a:lnTo>
                          <a:pt x="619" y="809"/>
                        </a:lnTo>
                        <a:lnTo>
                          <a:pt x="617" y="814"/>
                        </a:lnTo>
                        <a:lnTo>
                          <a:pt x="612" y="816"/>
                        </a:lnTo>
                        <a:lnTo>
                          <a:pt x="586" y="819"/>
                        </a:lnTo>
                        <a:lnTo>
                          <a:pt x="577" y="821"/>
                        </a:lnTo>
                        <a:lnTo>
                          <a:pt x="575" y="823"/>
                        </a:lnTo>
                        <a:lnTo>
                          <a:pt x="572" y="823"/>
                        </a:lnTo>
                        <a:lnTo>
                          <a:pt x="570" y="823"/>
                        </a:lnTo>
                        <a:lnTo>
                          <a:pt x="567" y="821"/>
                        </a:lnTo>
                        <a:lnTo>
                          <a:pt x="565" y="823"/>
                        </a:lnTo>
                        <a:lnTo>
                          <a:pt x="565" y="823"/>
                        </a:lnTo>
                        <a:lnTo>
                          <a:pt x="560" y="826"/>
                        </a:lnTo>
                        <a:lnTo>
                          <a:pt x="560" y="828"/>
                        </a:lnTo>
                        <a:lnTo>
                          <a:pt x="560" y="828"/>
                        </a:lnTo>
                        <a:lnTo>
                          <a:pt x="558" y="830"/>
                        </a:lnTo>
                        <a:lnTo>
                          <a:pt x="558" y="830"/>
                        </a:lnTo>
                        <a:lnTo>
                          <a:pt x="558" y="833"/>
                        </a:lnTo>
                        <a:lnTo>
                          <a:pt x="558" y="835"/>
                        </a:lnTo>
                        <a:lnTo>
                          <a:pt x="556" y="835"/>
                        </a:lnTo>
                        <a:lnTo>
                          <a:pt x="553" y="838"/>
                        </a:lnTo>
                        <a:lnTo>
                          <a:pt x="551" y="840"/>
                        </a:lnTo>
                        <a:lnTo>
                          <a:pt x="548" y="838"/>
                        </a:lnTo>
                        <a:lnTo>
                          <a:pt x="548" y="838"/>
                        </a:lnTo>
                        <a:lnTo>
                          <a:pt x="548" y="838"/>
                        </a:lnTo>
                        <a:lnTo>
                          <a:pt x="546" y="835"/>
                        </a:lnTo>
                        <a:lnTo>
                          <a:pt x="544" y="835"/>
                        </a:lnTo>
                        <a:lnTo>
                          <a:pt x="537" y="833"/>
                        </a:lnTo>
                        <a:lnTo>
                          <a:pt x="537" y="833"/>
                        </a:lnTo>
                        <a:lnTo>
                          <a:pt x="534" y="830"/>
                        </a:lnTo>
                        <a:lnTo>
                          <a:pt x="530" y="828"/>
                        </a:lnTo>
                        <a:lnTo>
                          <a:pt x="525" y="826"/>
                        </a:lnTo>
                        <a:lnTo>
                          <a:pt x="522" y="826"/>
                        </a:lnTo>
                        <a:lnTo>
                          <a:pt x="520" y="823"/>
                        </a:lnTo>
                        <a:lnTo>
                          <a:pt x="518" y="819"/>
                        </a:lnTo>
                        <a:lnTo>
                          <a:pt x="513" y="821"/>
                        </a:lnTo>
                        <a:lnTo>
                          <a:pt x="508" y="828"/>
                        </a:lnTo>
                        <a:lnTo>
                          <a:pt x="508" y="828"/>
                        </a:lnTo>
                        <a:lnTo>
                          <a:pt x="506" y="835"/>
                        </a:lnTo>
                        <a:lnTo>
                          <a:pt x="506" y="840"/>
                        </a:lnTo>
                        <a:lnTo>
                          <a:pt x="504" y="845"/>
                        </a:lnTo>
                        <a:lnTo>
                          <a:pt x="504" y="847"/>
                        </a:lnTo>
                        <a:lnTo>
                          <a:pt x="504" y="849"/>
                        </a:lnTo>
                        <a:lnTo>
                          <a:pt x="504" y="849"/>
                        </a:lnTo>
                        <a:lnTo>
                          <a:pt x="504" y="852"/>
                        </a:lnTo>
                        <a:lnTo>
                          <a:pt x="506" y="852"/>
                        </a:lnTo>
                        <a:lnTo>
                          <a:pt x="508" y="854"/>
                        </a:lnTo>
                        <a:lnTo>
                          <a:pt x="508" y="857"/>
                        </a:lnTo>
                        <a:lnTo>
                          <a:pt x="508" y="859"/>
                        </a:lnTo>
                        <a:lnTo>
                          <a:pt x="511" y="864"/>
                        </a:lnTo>
                        <a:lnTo>
                          <a:pt x="511" y="866"/>
                        </a:lnTo>
                        <a:lnTo>
                          <a:pt x="508" y="868"/>
                        </a:lnTo>
                        <a:lnTo>
                          <a:pt x="506" y="873"/>
                        </a:lnTo>
                        <a:lnTo>
                          <a:pt x="506" y="873"/>
                        </a:lnTo>
                        <a:lnTo>
                          <a:pt x="506" y="873"/>
                        </a:lnTo>
                        <a:lnTo>
                          <a:pt x="504" y="875"/>
                        </a:lnTo>
                        <a:lnTo>
                          <a:pt x="499" y="878"/>
                        </a:lnTo>
                        <a:lnTo>
                          <a:pt x="499" y="878"/>
                        </a:lnTo>
                        <a:lnTo>
                          <a:pt x="496" y="880"/>
                        </a:lnTo>
                        <a:lnTo>
                          <a:pt x="496" y="883"/>
                        </a:lnTo>
                        <a:lnTo>
                          <a:pt x="494" y="890"/>
                        </a:lnTo>
                        <a:lnTo>
                          <a:pt x="492" y="894"/>
                        </a:lnTo>
                        <a:lnTo>
                          <a:pt x="492" y="899"/>
                        </a:lnTo>
                        <a:lnTo>
                          <a:pt x="492" y="899"/>
                        </a:lnTo>
                        <a:lnTo>
                          <a:pt x="489" y="901"/>
                        </a:lnTo>
                        <a:lnTo>
                          <a:pt x="485" y="906"/>
                        </a:lnTo>
                        <a:lnTo>
                          <a:pt x="482" y="909"/>
                        </a:lnTo>
                        <a:lnTo>
                          <a:pt x="482" y="911"/>
                        </a:lnTo>
                        <a:lnTo>
                          <a:pt x="480" y="913"/>
                        </a:lnTo>
                        <a:lnTo>
                          <a:pt x="478" y="916"/>
                        </a:lnTo>
                        <a:lnTo>
                          <a:pt x="475" y="918"/>
                        </a:lnTo>
                        <a:lnTo>
                          <a:pt x="473" y="920"/>
                        </a:lnTo>
                        <a:lnTo>
                          <a:pt x="473" y="920"/>
                        </a:lnTo>
                        <a:lnTo>
                          <a:pt x="473" y="923"/>
                        </a:lnTo>
                        <a:lnTo>
                          <a:pt x="473" y="923"/>
                        </a:lnTo>
                        <a:lnTo>
                          <a:pt x="475" y="925"/>
                        </a:lnTo>
                        <a:lnTo>
                          <a:pt x="475" y="927"/>
                        </a:lnTo>
                        <a:lnTo>
                          <a:pt x="475" y="930"/>
                        </a:lnTo>
                        <a:lnTo>
                          <a:pt x="475" y="939"/>
                        </a:lnTo>
                        <a:lnTo>
                          <a:pt x="475" y="944"/>
                        </a:lnTo>
                        <a:lnTo>
                          <a:pt x="475" y="944"/>
                        </a:lnTo>
                        <a:lnTo>
                          <a:pt x="475" y="946"/>
                        </a:lnTo>
                        <a:lnTo>
                          <a:pt x="475" y="949"/>
                        </a:lnTo>
                        <a:lnTo>
                          <a:pt x="475" y="951"/>
                        </a:lnTo>
                        <a:lnTo>
                          <a:pt x="475" y="956"/>
                        </a:lnTo>
                        <a:lnTo>
                          <a:pt x="475" y="958"/>
                        </a:lnTo>
                        <a:lnTo>
                          <a:pt x="478" y="961"/>
                        </a:lnTo>
                        <a:lnTo>
                          <a:pt x="478" y="961"/>
                        </a:lnTo>
                        <a:lnTo>
                          <a:pt x="480" y="963"/>
                        </a:lnTo>
                        <a:lnTo>
                          <a:pt x="480" y="965"/>
                        </a:lnTo>
                        <a:lnTo>
                          <a:pt x="480" y="968"/>
                        </a:lnTo>
                        <a:lnTo>
                          <a:pt x="480" y="970"/>
                        </a:lnTo>
                        <a:lnTo>
                          <a:pt x="480" y="972"/>
                        </a:lnTo>
                        <a:lnTo>
                          <a:pt x="478" y="977"/>
                        </a:lnTo>
                        <a:lnTo>
                          <a:pt x="475" y="982"/>
                        </a:lnTo>
                        <a:lnTo>
                          <a:pt x="473" y="984"/>
                        </a:lnTo>
                        <a:lnTo>
                          <a:pt x="473" y="984"/>
                        </a:lnTo>
                        <a:lnTo>
                          <a:pt x="470" y="987"/>
                        </a:lnTo>
                        <a:lnTo>
                          <a:pt x="470" y="987"/>
                        </a:lnTo>
                        <a:lnTo>
                          <a:pt x="466" y="987"/>
                        </a:lnTo>
                        <a:lnTo>
                          <a:pt x="463" y="984"/>
                        </a:lnTo>
                        <a:lnTo>
                          <a:pt x="459" y="984"/>
                        </a:lnTo>
                        <a:lnTo>
                          <a:pt x="459" y="984"/>
                        </a:lnTo>
                        <a:lnTo>
                          <a:pt x="456" y="987"/>
                        </a:lnTo>
                        <a:lnTo>
                          <a:pt x="454" y="989"/>
                        </a:lnTo>
                        <a:lnTo>
                          <a:pt x="454" y="991"/>
                        </a:lnTo>
                        <a:lnTo>
                          <a:pt x="451" y="994"/>
                        </a:lnTo>
                        <a:lnTo>
                          <a:pt x="454" y="996"/>
                        </a:lnTo>
                        <a:lnTo>
                          <a:pt x="454" y="996"/>
                        </a:lnTo>
                        <a:lnTo>
                          <a:pt x="456" y="998"/>
                        </a:lnTo>
                        <a:lnTo>
                          <a:pt x="459" y="998"/>
                        </a:lnTo>
                        <a:lnTo>
                          <a:pt x="459" y="998"/>
                        </a:lnTo>
                        <a:lnTo>
                          <a:pt x="459" y="1001"/>
                        </a:lnTo>
                        <a:lnTo>
                          <a:pt x="461" y="1003"/>
                        </a:lnTo>
                        <a:lnTo>
                          <a:pt x="459" y="1003"/>
                        </a:lnTo>
                        <a:lnTo>
                          <a:pt x="459" y="1006"/>
                        </a:lnTo>
                        <a:lnTo>
                          <a:pt x="459" y="1006"/>
                        </a:lnTo>
                        <a:lnTo>
                          <a:pt x="456" y="1006"/>
                        </a:lnTo>
                        <a:lnTo>
                          <a:pt x="435" y="1006"/>
                        </a:lnTo>
                        <a:lnTo>
                          <a:pt x="428" y="1006"/>
                        </a:lnTo>
                        <a:lnTo>
                          <a:pt x="409" y="1006"/>
                        </a:lnTo>
                        <a:lnTo>
                          <a:pt x="399" y="1006"/>
                        </a:lnTo>
                        <a:lnTo>
                          <a:pt x="399" y="1003"/>
                        </a:lnTo>
                        <a:lnTo>
                          <a:pt x="395" y="1003"/>
                        </a:lnTo>
                        <a:lnTo>
                          <a:pt x="390" y="1001"/>
                        </a:lnTo>
                        <a:lnTo>
                          <a:pt x="388" y="1001"/>
                        </a:lnTo>
                        <a:lnTo>
                          <a:pt x="385" y="1001"/>
                        </a:lnTo>
                        <a:lnTo>
                          <a:pt x="383" y="1001"/>
                        </a:lnTo>
                        <a:lnTo>
                          <a:pt x="383" y="1001"/>
                        </a:lnTo>
                        <a:lnTo>
                          <a:pt x="381" y="1003"/>
                        </a:lnTo>
                        <a:lnTo>
                          <a:pt x="381" y="1006"/>
                        </a:lnTo>
                        <a:lnTo>
                          <a:pt x="378" y="1010"/>
                        </a:lnTo>
                        <a:lnTo>
                          <a:pt x="378" y="1010"/>
                        </a:lnTo>
                        <a:lnTo>
                          <a:pt x="376" y="1013"/>
                        </a:lnTo>
                        <a:lnTo>
                          <a:pt x="376" y="1013"/>
                        </a:lnTo>
                        <a:lnTo>
                          <a:pt x="378" y="1015"/>
                        </a:lnTo>
                        <a:lnTo>
                          <a:pt x="378" y="1017"/>
                        </a:lnTo>
                        <a:lnTo>
                          <a:pt x="378" y="1017"/>
                        </a:lnTo>
                        <a:lnTo>
                          <a:pt x="381" y="1017"/>
                        </a:lnTo>
                        <a:lnTo>
                          <a:pt x="381" y="1020"/>
                        </a:lnTo>
                        <a:lnTo>
                          <a:pt x="381" y="102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42" name="Freeform 45">
                    <a:extLst>
                      <a:ext uri="{FF2B5EF4-FFF2-40B4-BE49-F238E27FC236}">
                        <a16:creationId xmlns:a16="http://schemas.microsoft.com/office/drawing/2014/main" id="{3E04A5B6-3C5A-4CB3-9DFE-FF75AC73889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553978" y="2012536"/>
                    <a:ext cx="437588" cy="299357"/>
                  </a:xfrm>
                  <a:custGeom>
                    <a:avLst/>
                    <a:gdLst>
                      <a:gd name="T0" fmla="*/ 104 w 343"/>
                      <a:gd name="T1" fmla="*/ 230 h 235"/>
                      <a:gd name="T2" fmla="*/ 85 w 343"/>
                      <a:gd name="T3" fmla="*/ 225 h 235"/>
                      <a:gd name="T4" fmla="*/ 64 w 343"/>
                      <a:gd name="T5" fmla="*/ 194 h 235"/>
                      <a:gd name="T6" fmla="*/ 59 w 343"/>
                      <a:gd name="T7" fmla="*/ 183 h 235"/>
                      <a:gd name="T8" fmla="*/ 62 w 343"/>
                      <a:gd name="T9" fmla="*/ 168 h 235"/>
                      <a:gd name="T10" fmla="*/ 47 w 343"/>
                      <a:gd name="T11" fmla="*/ 159 h 235"/>
                      <a:gd name="T12" fmla="*/ 31 w 343"/>
                      <a:gd name="T13" fmla="*/ 149 h 235"/>
                      <a:gd name="T14" fmla="*/ 7 w 343"/>
                      <a:gd name="T15" fmla="*/ 135 h 235"/>
                      <a:gd name="T16" fmla="*/ 0 w 343"/>
                      <a:gd name="T17" fmla="*/ 102 h 235"/>
                      <a:gd name="T18" fmla="*/ 10 w 343"/>
                      <a:gd name="T19" fmla="*/ 86 h 235"/>
                      <a:gd name="T20" fmla="*/ 19 w 343"/>
                      <a:gd name="T21" fmla="*/ 81 h 235"/>
                      <a:gd name="T22" fmla="*/ 21 w 343"/>
                      <a:gd name="T23" fmla="*/ 76 h 235"/>
                      <a:gd name="T24" fmla="*/ 28 w 343"/>
                      <a:gd name="T25" fmla="*/ 79 h 235"/>
                      <a:gd name="T26" fmla="*/ 47 w 343"/>
                      <a:gd name="T27" fmla="*/ 71 h 235"/>
                      <a:gd name="T28" fmla="*/ 59 w 343"/>
                      <a:gd name="T29" fmla="*/ 52 h 235"/>
                      <a:gd name="T30" fmla="*/ 66 w 343"/>
                      <a:gd name="T31" fmla="*/ 41 h 235"/>
                      <a:gd name="T32" fmla="*/ 97 w 343"/>
                      <a:gd name="T33" fmla="*/ 60 h 235"/>
                      <a:gd name="T34" fmla="*/ 135 w 343"/>
                      <a:gd name="T35" fmla="*/ 45 h 235"/>
                      <a:gd name="T36" fmla="*/ 168 w 343"/>
                      <a:gd name="T37" fmla="*/ 38 h 235"/>
                      <a:gd name="T38" fmla="*/ 201 w 343"/>
                      <a:gd name="T39" fmla="*/ 15 h 235"/>
                      <a:gd name="T40" fmla="*/ 213 w 343"/>
                      <a:gd name="T41" fmla="*/ 5 h 235"/>
                      <a:gd name="T42" fmla="*/ 253 w 343"/>
                      <a:gd name="T43" fmla="*/ 8 h 235"/>
                      <a:gd name="T44" fmla="*/ 265 w 343"/>
                      <a:gd name="T45" fmla="*/ 22 h 235"/>
                      <a:gd name="T46" fmla="*/ 272 w 343"/>
                      <a:gd name="T47" fmla="*/ 19 h 235"/>
                      <a:gd name="T48" fmla="*/ 298 w 343"/>
                      <a:gd name="T49" fmla="*/ 22 h 235"/>
                      <a:gd name="T50" fmla="*/ 310 w 343"/>
                      <a:gd name="T51" fmla="*/ 22 h 235"/>
                      <a:gd name="T52" fmla="*/ 310 w 343"/>
                      <a:gd name="T53" fmla="*/ 12 h 235"/>
                      <a:gd name="T54" fmla="*/ 310 w 343"/>
                      <a:gd name="T55" fmla="*/ 22 h 235"/>
                      <a:gd name="T56" fmla="*/ 317 w 343"/>
                      <a:gd name="T57" fmla="*/ 50 h 235"/>
                      <a:gd name="T58" fmla="*/ 322 w 343"/>
                      <a:gd name="T59" fmla="*/ 76 h 235"/>
                      <a:gd name="T60" fmla="*/ 327 w 343"/>
                      <a:gd name="T61" fmla="*/ 88 h 235"/>
                      <a:gd name="T62" fmla="*/ 331 w 343"/>
                      <a:gd name="T63" fmla="*/ 93 h 235"/>
                      <a:gd name="T64" fmla="*/ 338 w 343"/>
                      <a:gd name="T65" fmla="*/ 100 h 235"/>
                      <a:gd name="T66" fmla="*/ 341 w 343"/>
                      <a:gd name="T67" fmla="*/ 123 h 235"/>
                      <a:gd name="T68" fmla="*/ 343 w 343"/>
                      <a:gd name="T69" fmla="*/ 133 h 235"/>
                      <a:gd name="T70" fmla="*/ 334 w 343"/>
                      <a:gd name="T71" fmla="*/ 154 h 235"/>
                      <a:gd name="T72" fmla="*/ 296 w 343"/>
                      <a:gd name="T73" fmla="*/ 176 h 235"/>
                      <a:gd name="T74" fmla="*/ 274 w 343"/>
                      <a:gd name="T75" fmla="*/ 178 h 235"/>
                      <a:gd name="T76" fmla="*/ 265 w 343"/>
                      <a:gd name="T77" fmla="*/ 173 h 235"/>
                      <a:gd name="T78" fmla="*/ 232 w 343"/>
                      <a:gd name="T79" fmla="*/ 171 h 235"/>
                      <a:gd name="T80" fmla="*/ 225 w 343"/>
                      <a:gd name="T81" fmla="*/ 176 h 235"/>
                      <a:gd name="T82" fmla="*/ 213 w 343"/>
                      <a:gd name="T83" fmla="*/ 178 h 235"/>
                      <a:gd name="T84" fmla="*/ 204 w 343"/>
                      <a:gd name="T85" fmla="*/ 190 h 235"/>
                      <a:gd name="T86" fmla="*/ 194 w 343"/>
                      <a:gd name="T87" fmla="*/ 197 h 235"/>
                      <a:gd name="T88" fmla="*/ 147 w 343"/>
                      <a:gd name="T89" fmla="*/ 220 h 235"/>
                      <a:gd name="T90" fmla="*/ 140 w 343"/>
                      <a:gd name="T91" fmla="*/ 223 h 235"/>
                      <a:gd name="T92" fmla="*/ 118 w 343"/>
                      <a:gd name="T93" fmla="*/ 220 h 235"/>
                      <a:gd name="T94" fmla="*/ 118 w 343"/>
                      <a:gd name="T95" fmla="*/ 218 h 235"/>
                      <a:gd name="T96" fmla="*/ 118 w 343"/>
                      <a:gd name="T97" fmla="*/ 213 h 2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</a:cxnLst>
                    <a:rect l="0" t="0" r="r" b="b"/>
                    <a:pathLst>
                      <a:path w="343" h="235">
                        <a:moveTo>
                          <a:pt x="116" y="213"/>
                        </a:moveTo>
                        <a:lnTo>
                          <a:pt x="116" y="213"/>
                        </a:lnTo>
                        <a:lnTo>
                          <a:pt x="104" y="230"/>
                        </a:lnTo>
                        <a:lnTo>
                          <a:pt x="99" y="235"/>
                        </a:lnTo>
                        <a:lnTo>
                          <a:pt x="99" y="232"/>
                        </a:lnTo>
                        <a:lnTo>
                          <a:pt x="85" y="225"/>
                        </a:lnTo>
                        <a:lnTo>
                          <a:pt x="71" y="218"/>
                        </a:lnTo>
                        <a:lnTo>
                          <a:pt x="69" y="211"/>
                        </a:lnTo>
                        <a:lnTo>
                          <a:pt x="64" y="194"/>
                        </a:lnTo>
                        <a:lnTo>
                          <a:pt x="64" y="192"/>
                        </a:lnTo>
                        <a:lnTo>
                          <a:pt x="59" y="187"/>
                        </a:lnTo>
                        <a:lnTo>
                          <a:pt x="59" y="183"/>
                        </a:lnTo>
                        <a:lnTo>
                          <a:pt x="59" y="180"/>
                        </a:lnTo>
                        <a:lnTo>
                          <a:pt x="62" y="171"/>
                        </a:lnTo>
                        <a:lnTo>
                          <a:pt x="62" y="168"/>
                        </a:lnTo>
                        <a:lnTo>
                          <a:pt x="59" y="164"/>
                        </a:lnTo>
                        <a:lnTo>
                          <a:pt x="57" y="161"/>
                        </a:lnTo>
                        <a:lnTo>
                          <a:pt x="47" y="159"/>
                        </a:lnTo>
                        <a:lnTo>
                          <a:pt x="43" y="157"/>
                        </a:lnTo>
                        <a:lnTo>
                          <a:pt x="36" y="149"/>
                        </a:lnTo>
                        <a:lnTo>
                          <a:pt x="31" y="149"/>
                        </a:lnTo>
                        <a:lnTo>
                          <a:pt x="24" y="147"/>
                        </a:lnTo>
                        <a:lnTo>
                          <a:pt x="14" y="142"/>
                        </a:lnTo>
                        <a:lnTo>
                          <a:pt x="7" y="135"/>
                        </a:lnTo>
                        <a:lnTo>
                          <a:pt x="2" y="116"/>
                        </a:lnTo>
                        <a:lnTo>
                          <a:pt x="2" y="109"/>
                        </a:lnTo>
                        <a:lnTo>
                          <a:pt x="0" y="102"/>
                        </a:lnTo>
                        <a:lnTo>
                          <a:pt x="2" y="95"/>
                        </a:lnTo>
                        <a:lnTo>
                          <a:pt x="5" y="88"/>
                        </a:lnTo>
                        <a:lnTo>
                          <a:pt x="10" y="86"/>
                        </a:lnTo>
                        <a:lnTo>
                          <a:pt x="19" y="83"/>
                        </a:lnTo>
                        <a:lnTo>
                          <a:pt x="19" y="83"/>
                        </a:lnTo>
                        <a:lnTo>
                          <a:pt x="19" y="81"/>
                        </a:lnTo>
                        <a:lnTo>
                          <a:pt x="19" y="79"/>
                        </a:lnTo>
                        <a:lnTo>
                          <a:pt x="21" y="76"/>
                        </a:lnTo>
                        <a:lnTo>
                          <a:pt x="21" y="76"/>
                        </a:lnTo>
                        <a:lnTo>
                          <a:pt x="26" y="79"/>
                        </a:lnTo>
                        <a:lnTo>
                          <a:pt x="26" y="79"/>
                        </a:lnTo>
                        <a:lnTo>
                          <a:pt x="28" y="79"/>
                        </a:lnTo>
                        <a:lnTo>
                          <a:pt x="36" y="79"/>
                        </a:lnTo>
                        <a:lnTo>
                          <a:pt x="43" y="76"/>
                        </a:lnTo>
                        <a:lnTo>
                          <a:pt x="47" y="71"/>
                        </a:lnTo>
                        <a:lnTo>
                          <a:pt x="54" y="64"/>
                        </a:lnTo>
                        <a:lnTo>
                          <a:pt x="57" y="57"/>
                        </a:lnTo>
                        <a:lnTo>
                          <a:pt x="59" y="52"/>
                        </a:lnTo>
                        <a:lnTo>
                          <a:pt x="59" y="48"/>
                        </a:lnTo>
                        <a:lnTo>
                          <a:pt x="64" y="43"/>
                        </a:lnTo>
                        <a:lnTo>
                          <a:pt x="66" y="41"/>
                        </a:lnTo>
                        <a:lnTo>
                          <a:pt x="80" y="55"/>
                        </a:lnTo>
                        <a:lnTo>
                          <a:pt x="88" y="57"/>
                        </a:lnTo>
                        <a:lnTo>
                          <a:pt x="97" y="60"/>
                        </a:lnTo>
                        <a:lnTo>
                          <a:pt x="107" y="57"/>
                        </a:lnTo>
                        <a:lnTo>
                          <a:pt x="116" y="55"/>
                        </a:lnTo>
                        <a:lnTo>
                          <a:pt x="135" y="45"/>
                        </a:lnTo>
                        <a:lnTo>
                          <a:pt x="142" y="41"/>
                        </a:lnTo>
                        <a:lnTo>
                          <a:pt x="144" y="38"/>
                        </a:lnTo>
                        <a:lnTo>
                          <a:pt x="168" y="38"/>
                        </a:lnTo>
                        <a:lnTo>
                          <a:pt x="177" y="34"/>
                        </a:lnTo>
                        <a:lnTo>
                          <a:pt x="194" y="19"/>
                        </a:lnTo>
                        <a:lnTo>
                          <a:pt x="201" y="15"/>
                        </a:lnTo>
                        <a:lnTo>
                          <a:pt x="208" y="15"/>
                        </a:lnTo>
                        <a:lnTo>
                          <a:pt x="211" y="10"/>
                        </a:lnTo>
                        <a:lnTo>
                          <a:pt x="213" y="5"/>
                        </a:lnTo>
                        <a:lnTo>
                          <a:pt x="218" y="0"/>
                        </a:lnTo>
                        <a:lnTo>
                          <a:pt x="248" y="5"/>
                        </a:lnTo>
                        <a:lnTo>
                          <a:pt x="253" y="8"/>
                        </a:lnTo>
                        <a:lnTo>
                          <a:pt x="258" y="12"/>
                        </a:lnTo>
                        <a:lnTo>
                          <a:pt x="265" y="19"/>
                        </a:lnTo>
                        <a:lnTo>
                          <a:pt x="265" y="22"/>
                        </a:lnTo>
                        <a:lnTo>
                          <a:pt x="267" y="22"/>
                        </a:lnTo>
                        <a:lnTo>
                          <a:pt x="272" y="22"/>
                        </a:lnTo>
                        <a:lnTo>
                          <a:pt x="272" y="19"/>
                        </a:lnTo>
                        <a:lnTo>
                          <a:pt x="277" y="19"/>
                        </a:lnTo>
                        <a:lnTo>
                          <a:pt x="291" y="24"/>
                        </a:lnTo>
                        <a:lnTo>
                          <a:pt x="298" y="22"/>
                        </a:lnTo>
                        <a:lnTo>
                          <a:pt x="305" y="24"/>
                        </a:lnTo>
                        <a:lnTo>
                          <a:pt x="305" y="24"/>
                        </a:lnTo>
                        <a:lnTo>
                          <a:pt x="310" y="22"/>
                        </a:lnTo>
                        <a:lnTo>
                          <a:pt x="310" y="19"/>
                        </a:lnTo>
                        <a:lnTo>
                          <a:pt x="310" y="17"/>
                        </a:lnTo>
                        <a:lnTo>
                          <a:pt x="310" y="12"/>
                        </a:lnTo>
                        <a:lnTo>
                          <a:pt x="310" y="12"/>
                        </a:lnTo>
                        <a:lnTo>
                          <a:pt x="312" y="19"/>
                        </a:lnTo>
                        <a:lnTo>
                          <a:pt x="310" y="22"/>
                        </a:lnTo>
                        <a:lnTo>
                          <a:pt x="310" y="22"/>
                        </a:lnTo>
                        <a:lnTo>
                          <a:pt x="310" y="26"/>
                        </a:lnTo>
                        <a:lnTo>
                          <a:pt x="317" y="50"/>
                        </a:lnTo>
                        <a:lnTo>
                          <a:pt x="319" y="62"/>
                        </a:lnTo>
                        <a:lnTo>
                          <a:pt x="319" y="69"/>
                        </a:lnTo>
                        <a:lnTo>
                          <a:pt x="322" y="76"/>
                        </a:lnTo>
                        <a:lnTo>
                          <a:pt x="324" y="79"/>
                        </a:lnTo>
                        <a:lnTo>
                          <a:pt x="324" y="86"/>
                        </a:lnTo>
                        <a:lnTo>
                          <a:pt x="327" y="88"/>
                        </a:lnTo>
                        <a:lnTo>
                          <a:pt x="327" y="90"/>
                        </a:lnTo>
                        <a:lnTo>
                          <a:pt x="329" y="90"/>
                        </a:lnTo>
                        <a:lnTo>
                          <a:pt x="331" y="93"/>
                        </a:lnTo>
                        <a:lnTo>
                          <a:pt x="336" y="95"/>
                        </a:lnTo>
                        <a:lnTo>
                          <a:pt x="338" y="95"/>
                        </a:lnTo>
                        <a:lnTo>
                          <a:pt x="338" y="100"/>
                        </a:lnTo>
                        <a:lnTo>
                          <a:pt x="338" y="105"/>
                        </a:lnTo>
                        <a:lnTo>
                          <a:pt x="338" y="119"/>
                        </a:lnTo>
                        <a:lnTo>
                          <a:pt x="341" y="123"/>
                        </a:lnTo>
                        <a:lnTo>
                          <a:pt x="341" y="128"/>
                        </a:lnTo>
                        <a:lnTo>
                          <a:pt x="343" y="131"/>
                        </a:lnTo>
                        <a:lnTo>
                          <a:pt x="343" y="133"/>
                        </a:lnTo>
                        <a:lnTo>
                          <a:pt x="343" y="133"/>
                        </a:lnTo>
                        <a:lnTo>
                          <a:pt x="341" y="140"/>
                        </a:lnTo>
                        <a:lnTo>
                          <a:pt x="334" y="154"/>
                        </a:lnTo>
                        <a:lnTo>
                          <a:pt x="305" y="166"/>
                        </a:lnTo>
                        <a:lnTo>
                          <a:pt x="298" y="173"/>
                        </a:lnTo>
                        <a:lnTo>
                          <a:pt x="296" y="176"/>
                        </a:lnTo>
                        <a:lnTo>
                          <a:pt x="293" y="176"/>
                        </a:lnTo>
                        <a:lnTo>
                          <a:pt x="291" y="176"/>
                        </a:lnTo>
                        <a:lnTo>
                          <a:pt x="274" y="178"/>
                        </a:lnTo>
                        <a:lnTo>
                          <a:pt x="270" y="176"/>
                        </a:lnTo>
                        <a:lnTo>
                          <a:pt x="267" y="173"/>
                        </a:lnTo>
                        <a:lnTo>
                          <a:pt x="265" y="173"/>
                        </a:lnTo>
                        <a:lnTo>
                          <a:pt x="265" y="173"/>
                        </a:lnTo>
                        <a:lnTo>
                          <a:pt x="234" y="168"/>
                        </a:lnTo>
                        <a:lnTo>
                          <a:pt x="232" y="171"/>
                        </a:lnTo>
                        <a:lnTo>
                          <a:pt x="230" y="171"/>
                        </a:lnTo>
                        <a:lnTo>
                          <a:pt x="227" y="173"/>
                        </a:lnTo>
                        <a:lnTo>
                          <a:pt x="225" y="176"/>
                        </a:lnTo>
                        <a:lnTo>
                          <a:pt x="220" y="176"/>
                        </a:lnTo>
                        <a:lnTo>
                          <a:pt x="215" y="176"/>
                        </a:lnTo>
                        <a:lnTo>
                          <a:pt x="213" y="178"/>
                        </a:lnTo>
                        <a:lnTo>
                          <a:pt x="211" y="178"/>
                        </a:lnTo>
                        <a:lnTo>
                          <a:pt x="206" y="185"/>
                        </a:lnTo>
                        <a:lnTo>
                          <a:pt x="204" y="190"/>
                        </a:lnTo>
                        <a:lnTo>
                          <a:pt x="201" y="192"/>
                        </a:lnTo>
                        <a:lnTo>
                          <a:pt x="196" y="194"/>
                        </a:lnTo>
                        <a:lnTo>
                          <a:pt x="194" y="197"/>
                        </a:lnTo>
                        <a:lnTo>
                          <a:pt x="192" y="202"/>
                        </a:lnTo>
                        <a:lnTo>
                          <a:pt x="189" y="202"/>
                        </a:lnTo>
                        <a:lnTo>
                          <a:pt x="147" y="220"/>
                        </a:lnTo>
                        <a:lnTo>
                          <a:pt x="147" y="223"/>
                        </a:lnTo>
                        <a:lnTo>
                          <a:pt x="144" y="223"/>
                        </a:lnTo>
                        <a:lnTo>
                          <a:pt x="140" y="223"/>
                        </a:lnTo>
                        <a:lnTo>
                          <a:pt x="125" y="223"/>
                        </a:lnTo>
                        <a:lnTo>
                          <a:pt x="121" y="223"/>
                        </a:lnTo>
                        <a:lnTo>
                          <a:pt x="118" y="220"/>
                        </a:lnTo>
                        <a:lnTo>
                          <a:pt x="118" y="220"/>
                        </a:lnTo>
                        <a:lnTo>
                          <a:pt x="118" y="220"/>
                        </a:lnTo>
                        <a:lnTo>
                          <a:pt x="118" y="218"/>
                        </a:lnTo>
                        <a:lnTo>
                          <a:pt x="118" y="218"/>
                        </a:lnTo>
                        <a:lnTo>
                          <a:pt x="118" y="216"/>
                        </a:lnTo>
                        <a:lnTo>
                          <a:pt x="118" y="213"/>
                        </a:lnTo>
                        <a:lnTo>
                          <a:pt x="116" y="213"/>
                        </a:lnTo>
                        <a:lnTo>
                          <a:pt x="116" y="213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43" name="Freeform 47">
                    <a:extLst>
                      <a:ext uri="{FF2B5EF4-FFF2-40B4-BE49-F238E27FC236}">
                        <a16:creationId xmlns:a16="http://schemas.microsoft.com/office/drawing/2014/main" id="{3E787039-186C-445B-8666-FE6D35DFFEA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226482" y="1558894"/>
                    <a:ext cx="1128516" cy="1093804"/>
                  </a:xfrm>
                  <a:custGeom>
                    <a:avLst/>
                    <a:gdLst>
                      <a:gd name="T0" fmla="*/ 54 w 889"/>
                      <a:gd name="T1" fmla="*/ 308 h 861"/>
                      <a:gd name="T2" fmla="*/ 99 w 889"/>
                      <a:gd name="T3" fmla="*/ 367 h 861"/>
                      <a:gd name="T4" fmla="*/ 125 w 889"/>
                      <a:gd name="T5" fmla="*/ 339 h 861"/>
                      <a:gd name="T6" fmla="*/ 132 w 889"/>
                      <a:gd name="T7" fmla="*/ 279 h 861"/>
                      <a:gd name="T8" fmla="*/ 172 w 889"/>
                      <a:gd name="T9" fmla="*/ 201 h 861"/>
                      <a:gd name="T10" fmla="*/ 175 w 889"/>
                      <a:gd name="T11" fmla="*/ 88 h 861"/>
                      <a:gd name="T12" fmla="*/ 227 w 889"/>
                      <a:gd name="T13" fmla="*/ 126 h 861"/>
                      <a:gd name="T14" fmla="*/ 307 w 889"/>
                      <a:gd name="T15" fmla="*/ 149 h 861"/>
                      <a:gd name="T16" fmla="*/ 383 w 889"/>
                      <a:gd name="T17" fmla="*/ 130 h 861"/>
                      <a:gd name="T18" fmla="*/ 421 w 889"/>
                      <a:gd name="T19" fmla="*/ 133 h 861"/>
                      <a:gd name="T20" fmla="*/ 397 w 889"/>
                      <a:gd name="T21" fmla="*/ 74 h 861"/>
                      <a:gd name="T22" fmla="*/ 407 w 889"/>
                      <a:gd name="T23" fmla="*/ 12 h 861"/>
                      <a:gd name="T24" fmla="*/ 482 w 889"/>
                      <a:gd name="T25" fmla="*/ 29 h 861"/>
                      <a:gd name="T26" fmla="*/ 567 w 889"/>
                      <a:gd name="T27" fmla="*/ 57 h 861"/>
                      <a:gd name="T28" fmla="*/ 560 w 889"/>
                      <a:gd name="T29" fmla="*/ 97 h 861"/>
                      <a:gd name="T30" fmla="*/ 563 w 889"/>
                      <a:gd name="T31" fmla="*/ 133 h 861"/>
                      <a:gd name="T32" fmla="*/ 565 w 889"/>
                      <a:gd name="T33" fmla="*/ 208 h 861"/>
                      <a:gd name="T34" fmla="*/ 546 w 889"/>
                      <a:gd name="T35" fmla="*/ 263 h 861"/>
                      <a:gd name="T36" fmla="*/ 563 w 889"/>
                      <a:gd name="T37" fmla="*/ 282 h 861"/>
                      <a:gd name="T38" fmla="*/ 574 w 889"/>
                      <a:gd name="T39" fmla="*/ 324 h 861"/>
                      <a:gd name="T40" fmla="*/ 596 w 889"/>
                      <a:gd name="T41" fmla="*/ 339 h 861"/>
                      <a:gd name="T42" fmla="*/ 617 w 889"/>
                      <a:gd name="T43" fmla="*/ 320 h 861"/>
                      <a:gd name="T44" fmla="*/ 641 w 889"/>
                      <a:gd name="T45" fmla="*/ 312 h 861"/>
                      <a:gd name="T46" fmla="*/ 619 w 889"/>
                      <a:gd name="T47" fmla="*/ 421 h 861"/>
                      <a:gd name="T48" fmla="*/ 650 w 889"/>
                      <a:gd name="T49" fmla="*/ 509 h 861"/>
                      <a:gd name="T50" fmla="*/ 669 w 889"/>
                      <a:gd name="T51" fmla="*/ 542 h 861"/>
                      <a:gd name="T52" fmla="*/ 698 w 889"/>
                      <a:gd name="T53" fmla="*/ 549 h 861"/>
                      <a:gd name="T54" fmla="*/ 750 w 889"/>
                      <a:gd name="T55" fmla="*/ 589 h 861"/>
                      <a:gd name="T56" fmla="*/ 769 w 889"/>
                      <a:gd name="T57" fmla="*/ 596 h 861"/>
                      <a:gd name="T58" fmla="*/ 785 w 889"/>
                      <a:gd name="T59" fmla="*/ 608 h 861"/>
                      <a:gd name="T60" fmla="*/ 811 w 889"/>
                      <a:gd name="T61" fmla="*/ 613 h 861"/>
                      <a:gd name="T62" fmla="*/ 851 w 889"/>
                      <a:gd name="T63" fmla="*/ 663 h 861"/>
                      <a:gd name="T64" fmla="*/ 806 w 889"/>
                      <a:gd name="T65" fmla="*/ 674 h 861"/>
                      <a:gd name="T66" fmla="*/ 740 w 889"/>
                      <a:gd name="T67" fmla="*/ 696 h 861"/>
                      <a:gd name="T68" fmla="*/ 693 w 889"/>
                      <a:gd name="T69" fmla="*/ 682 h 861"/>
                      <a:gd name="T70" fmla="*/ 662 w 889"/>
                      <a:gd name="T71" fmla="*/ 686 h 861"/>
                      <a:gd name="T72" fmla="*/ 560 w 889"/>
                      <a:gd name="T73" fmla="*/ 689 h 861"/>
                      <a:gd name="T74" fmla="*/ 433 w 889"/>
                      <a:gd name="T75" fmla="*/ 656 h 861"/>
                      <a:gd name="T76" fmla="*/ 407 w 889"/>
                      <a:gd name="T77" fmla="*/ 674 h 861"/>
                      <a:gd name="T78" fmla="*/ 354 w 889"/>
                      <a:gd name="T79" fmla="*/ 672 h 861"/>
                      <a:gd name="T80" fmla="*/ 324 w 889"/>
                      <a:gd name="T81" fmla="*/ 656 h 861"/>
                      <a:gd name="T82" fmla="*/ 286 w 889"/>
                      <a:gd name="T83" fmla="*/ 682 h 861"/>
                      <a:gd name="T84" fmla="*/ 265 w 889"/>
                      <a:gd name="T85" fmla="*/ 771 h 861"/>
                      <a:gd name="T86" fmla="*/ 267 w 889"/>
                      <a:gd name="T87" fmla="*/ 824 h 861"/>
                      <a:gd name="T88" fmla="*/ 260 w 889"/>
                      <a:gd name="T89" fmla="*/ 852 h 861"/>
                      <a:gd name="T90" fmla="*/ 241 w 889"/>
                      <a:gd name="T91" fmla="*/ 845 h 861"/>
                      <a:gd name="T92" fmla="*/ 201 w 889"/>
                      <a:gd name="T93" fmla="*/ 807 h 861"/>
                      <a:gd name="T94" fmla="*/ 186 w 889"/>
                      <a:gd name="T95" fmla="*/ 781 h 861"/>
                      <a:gd name="T96" fmla="*/ 149 w 889"/>
                      <a:gd name="T97" fmla="*/ 741 h 861"/>
                      <a:gd name="T98" fmla="*/ 127 w 889"/>
                      <a:gd name="T99" fmla="*/ 715 h 861"/>
                      <a:gd name="T100" fmla="*/ 33 w 889"/>
                      <a:gd name="T101" fmla="*/ 689 h 861"/>
                      <a:gd name="T102" fmla="*/ 16 w 889"/>
                      <a:gd name="T103" fmla="*/ 651 h 861"/>
                      <a:gd name="T104" fmla="*/ 2 w 889"/>
                      <a:gd name="T105" fmla="*/ 622 h 861"/>
                      <a:gd name="T106" fmla="*/ 37 w 889"/>
                      <a:gd name="T107" fmla="*/ 594 h 861"/>
                      <a:gd name="T108" fmla="*/ 63 w 889"/>
                      <a:gd name="T109" fmla="*/ 603 h 861"/>
                      <a:gd name="T110" fmla="*/ 68 w 889"/>
                      <a:gd name="T111" fmla="*/ 582 h 861"/>
                      <a:gd name="T112" fmla="*/ 56 w 889"/>
                      <a:gd name="T113" fmla="*/ 516 h 861"/>
                      <a:gd name="T114" fmla="*/ 37 w 889"/>
                      <a:gd name="T115" fmla="*/ 471 h 861"/>
                      <a:gd name="T116" fmla="*/ 30 w 889"/>
                      <a:gd name="T117" fmla="*/ 454 h 861"/>
                      <a:gd name="T118" fmla="*/ 0 w 889"/>
                      <a:gd name="T119" fmla="*/ 412 h 861"/>
                      <a:gd name="T120" fmla="*/ 2 w 889"/>
                      <a:gd name="T121" fmla="*/ 362 h 86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889" h="861">
                        <a:moveTo>
                          <a:pt x="37" y="298"/>
                        </a:moveTo>
                        <a:lnTo>
                          <a:pt x="37" y="298"/>
                        </a:lnTo>
                        <a:lnTo>
                          <a:pt x="37" y="296"/>
                        </a:lnTo>
                        <a:lnTo>
                          <a:pt x="33" y="270"/>
                        </a:lnTo>
                        <a:lnTo>
                          <a:pt x="33" y="270"/>
                        </a:lnTo>
                        <a:lnTo>
                          <a:pt x="37" y="275"/>
                        </a:lnTo>
                        <a:lnTo>
                          <a:pt x="40" y="277"/>
                        </a:lnTo>
                        <a:lnTo>
                          <a:pt x="45" y="277"/>
                        </a:lnTo>
                        <a:lnTo>
                          <a:pt x="52" y="275"/>
                        </a:lnTo>
                        <a:lnTo>
                          <a:pt x="56" y="277"/>
                        </a:lnTo>
                        <a:lnTo>
                          <a:pt x="66" y="284"/>
                        </a:lnTo>
                        <a:lnTo>
                          <a:pt x="63" y="296"/>
                        </a:lnTo>
                        <a:lnTo>
                          <a:pt x="54" y="308"/>
                        </a:lnTo>
                        <a:lnTo>
                          <a:pt x="52" y="320"/>
                        </a:lnTo>
                        <a:lnTo>
                          <a:pt x="49" y="322"/>
                        </a:lnTo>
                        <a:lnTo>
                          <a:pt x="49" y="322"/>
                        </a:lnTo>
                        <a:lnTo>
                          <a:pt x="54" y="322"/>
                        </a:lnTo>
                        <a:lnTo>
                          <a:pt x="59" y="324"/>
                        </a:lnTo>
                        <a:lnTo>
                          <a:pt x="78" y="331"/>
                        </a:lnTo>
                        <a:lnTo>
                          <a:pt x="80" y="331"/>
                        </a:lnTo>
                        <a:lnTo>
                          <a:pt x="82" y="334"/>
                        </a:lnTo>
                        <a:lnTo>
                          <a:pt x="85" y="341"/>
                        </a:lnTo>
                        <a:lnTo>
                          <a:pt x="92" y="350"/>
                        </a:lnTo>
                        <a:lnTo>
                          <a:pt x="94" y="355"/>
                        </a:lnTo>
                        <a:lnTo>
                          <a:pt x="97" y="360"/>
                        </a:lnTo>
                        <a:lnTo>
                          <a:pt x="99" y="367"/>
                        </a:lnTo>
                        <a:lnTo>
                          <a:pt x="99" y="374"/>
                        </a:lnTo>
                        <a:lnTo>
                          <a:pt x="97" y="379"/>
                        </a:lnTo>
                        <a:lnTo>
                          <a:pt x="97" y="386"/>
                        </a:lnTo>
                        <a:lnTo>
                          <a:pt x="108" y="379"/>
                        </a:lnTo>
                        <a:lnTo>
                          <a:pt x="118" y="383"/>
                        </a:lnTo>
                        <a:lnTo>
                          <a:pt x="127" y="383"/>
                        </a:lnTo>
                        <a:lnTo>
                          <a:pt x="134" y="372"/>
                        </a:lnTo>
                        <a:lnTo>
                          <a:pt x="142" y="355"/>
                        </a:lnTo>
                        <a:lnTo>
                          <a:pt x="142" y="348"/>
                        </a:lnTo>
                        <a:lnTo>
                          <a:pt x="137" y="341"/>
                        </a:lnTo>
                        <a:lnTo>
                          <a:pt x="134" y="341"/>
                        </a:lnTo>
                        <a:lnTo>
                          <a:pt x="127" y="341"/>
                        </a:lnTo>
                        <a:lnTo>
                          <a:pt x="125" y="339"/>
                        </a:lnTo>
                        <a:lnTo>
                          <a:pt x="120" y="334"/>
                        </a:lnTo>
                        <a:lnTo>
                          <a:pt x="118" y="327"/>
                        </a:lnTo>
                        <a:lnTo>
                          <a:pt x="113" y="324"/>
                        </a:lnTo>
                        <a:lnTo>
                          <a:pt x="113" y="324"/>
                        </a:lnTo>
                        <a:lnTo>
                          <a:pt x="113" y="322"/>
                        </a:lnTo>
                        <a:lnTo>
                          <a:pt x="113" y="322"/>
                        </a:lnTo>
                        <a:lnTo>
                          <a:pt x="113" y="320"/>
                        </a:lnTo>
                        <a:lnTo>
                          <a:pt x="123" y="310"/>
                        </a:lnTo>
                        <a:lnTo>
                          <a:pt x="116" y="296"/>
                        </a:lnTo>
                        <a:lnTo>
                          <a:pt x="116" y="291"/>
                        </a:lnTo>
                        <a:lnTo>
                          <a:pt x="123" y="284"/>
                        </a:lnTo>
                        <a:lnTo>
                          <a:pt x="130" y="282"/>
                        </a:lnTo>
                        <a:lnTo>
                          <a:pt x="132" y="279"/>
                        </a:lnTo>
                        <a:lnTo>
                          <a:pt x="134" y="275"/>
                        </a:lnTo>
                        <a:lnTo>
                          <a:pt x="134" y="270"/>
                        </a:lnTo>
                        <a:lnTo>
                          <a:pt x="132" y="260"/>
                        </a:lnTo>
                        <a:lnTo>
                          <a:pt x="132" y="256"/>
                        </a:lnTo>
                        <a:lnTo>
                          <a:pt x="137" y="246"/>
                        </a:lnTo>
                        <a:lnTo>
                          <a:pt x="156" y="230"/>
                        </a:lnTo>
                        <a:lnTo>
                          <a:pt x="158" y="225"/>
                        </a:lnTo>
                        <a:lnTo>
                          <a:pt x="160" y="220"/>
                        </a:lnTo>
                        <a:lnTo>
                          <a:pt x="160" y="215"/>
                        </a:lnTo>
                        <a:lnTo>
                          <a:pt x="163" y="213"/>
                        </a:lnTo>
                        <a:lnTo>
                          <a:pt x="168" y="211"/>
                        </a:lnTo>
                        <a:lnTo>
                          <a:pt x="170" y="206"/>
                        </a:lnTo>
                        <a:lnTo>
                          <a:pt x="172" y="201"/>
                        </a:lnTo>
                        <a:lnTo>
                          <a:pt x="175" y="187"/>
                        </a:lnTo>
                        <a:lnTo>
                          <a:pt x="182" y="168"/>
                        </a:lnTo>
                        <a:lnTo>
                          <a:pt x="182" y="159"/>
                        </a:lnTo>
                        <a:lnTo>
                          <a:pt x="179" y="152"/>
                        </a:lnTo>
                        <a:lnTo>
                          <a:pt x="175" y="137"/>
                        </a:lnTo>
                        <a:lnTo>
                          <a:pt x="175" y="133"/>
                        </a:lnTo>
                        <a:lnTo>
                          <a:pt x="175" y="126"/>
                        </a:lnTo>
                        <a:lnTo>
                          <a:pt x="172" y="123"/>
                        </a:lnTo>
                        <a:lnTo>
                          <a:pt x="170" y="121"/>
                        </a:lnTo>
                        <a:lnTo>
                          <a:pt x="165" y="114"/>
                        </a:lnTo>
                        <a:lnTo>
                          <a:pt x="168" y="104"/>
                        </a:lnTo>
                        <a:lnTo>
                          <a:pt x="170" y="92"/>
                        </a:lnTo>
                        <a:lnTo>
                          <a:pt x="175" y="88"/>
                        </a:lnTo>
                        <a:lnTo>
                          <a:pt x="189" y="83"/>
                        </a:lnTo>
                        <a:lnTo>
                          <a:pt x="196" y="85"/>
                        </a:lnTo>
                        <a:lnTo>
                          <a:pt x="196" y="90"/>
                        </a:lnTo>
                        <a:lnTo>
                          <a:pt x="205" y="97"/>
                        </a:lnTo>
                        <a:lnTo>
                          <a:pt x="205" y="97"/>
                        </a:lnTo>
                        <a:lnTo>
                          <a:pt x="210" y="95"/>
                        </a:lnTo>
                        <a:lnTo>
                          <a:pt x="210" y="92"/>
                        </a:lnTo>
                        <a:lnTo>
                          <a:pt x="210" y="90"/>
                        </a:lnTo>
                        <a:lnTo>
                          <a:pt x="213" y="88"/>
                        </a:lnTo>
                        <a:lnTo>
                          <a:pt x="217" y="83"/>
                        </a:lnTo>
                        <a:lnTo>
                          <a:pt x="220" y="81"/>
                        </a:lnTo>
                        <a:lnTo>
                          <a:pt x="220" y="85"/>
                        </a:lnTo>
                        <a:lnTo>
                          <a:pt x="227" y="126"/>
                        </a:lnTo>
                        <a:lnTo>
                          <a:pt x="227" y="130"/>
                        </a:lnTo>
                        <a:lnTo>
                          <a:pt x="229" y="133"/>
                        </a:lnTo>
                        <a:lnTo>
                          <a:pt x="231" y="135"/>
                        </a:lnTo>
                        <a:lnTo>
                          <a:pt x="239" y="137"/>
                        </a:lnTo>
                        <a:lnTo>
                          <a:pt x="241" y="140"/>
                        </a:lnTo>
                        <a:lnTo>
                          <a:pt x="248" y="154"/>
                        </a:lnTo>
                        <a:lnTo>
                          <a:pt x="253" y="159"/>
                        </a:lnTo>
                        <a:lnTo>
                          <a:pt x="260" y="163"/>
                        </a:lnTo>
                        <a:lnTo>
                          <a:pt x="267" y="166"/>
                        </a:lnTo>
                        <a:lnTo>
                          <a:pt x="300" y="161"/>
                        </a:lnTo>
                        <a:lnTo>
                          <a:pt x="305" y="159"/>
                        </a:lnTo>
                        <a:lnTo>
                          <a:pt x="310" y="152"/>
                        </a:lnTo>
                        <a:lnTo>
                          <a:pt x="307" y="149"/>
                        </a:lnTo>
                        <a:lnTo>
                          <a:pt x="307" y="145"/>
                        </a:lnTo>
                        <a:lnTo>
                          <a:pt x="307" y="137"/>
                        </a:lnTo>
                        <a:lnTo>
                          <a:pt x="310" y="135"/>
                        </a:lnTo>
                        <a:lnTo>
                          <a:pt x="312" y="135"/>
                        </a:lnTo>
                        <a:lnTo>
                          <a:pt x="321" y="137"/>
                        </a:lnTo>
                        <a:lnTo>
                          <a:pt x="324" y="137"/>
                        </a:lnTo>
                        <a:lnTo>
                          <a:pt x="331" y="135"/>
                        </a:lnTo>
                        <a:lnTo>
                          <a:pt x="347" y="123"/>
                        </a:lnTo>
                        <a:lnTo>
                          <a:pt x="362" y="118"/>
                        </a:lnTo>
                        <a:lnTo>
                          <a:pt x="366" y="118"/>
                        </a:lnTo>
                        <a:lnTo>
                          <a:pt x="373" y="118"/>
                        </a:lnTo>
                        <a:lnTo>
                          <a:pt x="380" y="123"/>
                        </a:lnTo>
                        <a:lnTo>
                          <a:pt x="383" y="130"/>
                        </a:lnTo>
                        <a:lnTo>
                          <a:pt x="385" y="137"/>
                        </a:lnTo>
                        <a:lnTo>
                          <a:pt x="388" y="147"/>
                        </a:lnTo>
                        <a:lnTo>
                          <a:pt x="392" y="154"/>
                        </a:lnTo>
                        <a:lnTo>
                          <a:pt x="404" y="161"/>
                        </a:lnTo>
                        <a:lnTo>
                          <a:pt x="409" y="168"/>
                        </a:lnTo>
                        <a:lnTo>
                          <a:pt x="411" y="178"/>
                        </a:lnTo>
                        <a:lnTo>
                          <a:pt x="421" y="178"/>
                        </a:lnTo>
                        <a:lnTo>
                          <a:pt x="433" y="171"/>
                        </a:lnTo>
                        <a:lnTo>
                          <a:pt x="440" y="166"/>
                        </a:lnTo>
                        <a:lnTo>
                          <a:pt x="442" y="156"/>
                        </a:lnTo>
                        <a:lnTo>
                          <a:pt x="437" y="149"/>
                        </a:lnTo>
                        <a:lnTo>
                          <a:pt x="423" y="137"/>
                        </a:lnTo>
                        <a:lnTo>
                          <a:pt x="421" y="133"/>
                        </a:lnTo>
                        <a:lnTo>
                          <a:pt x="418" y="130"/>
                        </a:lnTo>
                        <a:lnTo>
                          <a:pt x="418" y="126"/>
                        </a:lnTo>
                        <a:lnTo>
                          <a:pt x="418" y="121"/>
                        </a:lnTo>
                        <a:lnTo>
                          <a:pt x="421" y="116"/>
                        </a:lnTo>
                        <a:lnTo>
                          <a:pt x="425" y="109"/>
                        </a:lnTo>
                        <a:lnTo>
                          <a:pt x="428" y="107"/>
                        </a:lnTo>
                        <a:lnTo>
                          <a:pt x="430" y="97"/>
                        </a:lnTo>
                        <a:lnTo>
                          <a:pt x="425" y="92"/>
                        </a:lnTo>
                        <a:lnTo>
                          <a:pt x="421" y="92"/>
                        </a:lnTo>
                        <a:lnTo>
                          <a:pt x="409" y="90"/>
                        </a:lnTo>
                        <a:lnTo>
                          <a:pt x="399" y="88"/>
                        </a:lnTo>
                        <a:lnTo>
                          <a:pt x="395" y="83"/>
                        </a:lnTo>
                        <a:lnTo>
                          <a:pt x="397" y="74"/>
                        </a:lnTo>
                        <a:lnTo>
                          <a:pt x="395" y="71"/>
                        </a:lnTo>
                        <a:lnTo>
                          <a:pt x="392" y="71"/>
                        </a:lnTo>
                        <a:lnTo>
                          <a:pt x="392" y="66"/>
                        </a:lnTo>
                        <a:lnTo>
                          <a:pt x="392" y="64"/>
                        </a:lnTo>
                        <a:lnTo>
                          <a:pt x="392" y="59"/>
                        </a:lnTo>
                        <a:lnTo>
                          <a:pt x="390" y="50"/>
                        </a:lnTo>
                        <a:lnTo>
                          <a:pt x="390" y="45"/>
                        </a:lnTo>
                        <a:lnTo>
                          <a:pt x="392" y="43"/>
                        </a:lnTo>
                        <a:lnTo>
                          <a:pt x="399" y="36"/>
                        </a:lnTo>
                        <a:lnTo>
                          <a:pt x="399" y="31"/>
                        </a:lnTo>
                        <a:lnTo>
                          <a:pt x="402" y="17"/>
                        </a:lnTo>
                        <a:lnTo>
                          <a:pt x="404" y="14"/>
                        </a:lnTo>
                        <a:lnTo>
                          <a:pt x="407" y="12"/>
                        </a:lnTo>
                        <a:lnTo>
                          <a:pt x="433" y="0"/>
                        </a:lnTo>
                        <a:lnTo>
                          <a:pt x="440" y="0"/>
                        </a:lnTo>
                        <a:lnTo>
                          <a:pt x="444" y="3"/>
                        </a:lnTo>
                        <a:lnTo>
                          <a:pt x="447" y="7"/>
                        </a:lnTo>
                        <a:lnTo>
                          <a:pt x="444" y="17"/>
                        </a:lnTo>
                        <a:lnTo>
                          <a:pt x="447" y="21"/>
                        </a:lnTo>
                        <a:lnTo>
                          <a:pt x="459" y="24"/>
                        </a:lnTo>
                        <a:lnTo>
                          <a:pt x="461" y="26"/>
                        </a:lnTo>
                        <a:lnTo>
                          <a:pt x="463" y="26"/>
                        </a:lnTo>
                        <a:lnTo>
                          <a:pt x="466" y="29"/>
                        </a:lnTo>
                        <a:lnTo>
                          <a:pt x="470" y="31"/>
                        </a:lnTo>
                        <a:lnTo>
                          <a:pt x="473" y="31"/>
                        </a:lnTo>
                        <a:lnTo>
                          <a:pt x="482" y="29"/>
                        </a:lnTo>
                        <a:lnTo>
                          <a:pt x="504" y="31"/>
                        </a:lnTo>
                        <a:lnTo>
                          <a:pt x="511" y="29"/>
                        </a:lnTo>
                        <a:lnTo>
                          <a:pt x="511" y="24"/>
                        </a:lnTo>
                        <a:lnTo>
                          <a:pt x="513" y="26"/>
                        </a:lnTo>
                        <a:lnTo>
                          <a:pt x="518" y="36"/>
                        </a:lnTo>
                        <a:lnTo>
                          <a:pt x="520" y="38"/>
                        </a:lnTo>
                        <a:lnTo>
                          <a:pt x="522" y="43"/>
                        </a:lnTo>
                        <a:lnTo>
                          <a:pt x="525" y="45"/>
                        </a:lnTo>
                        <a:lnTo>
                          <a:pt x="527" y="45"/>
                        </a:lnTo>
                        <a:lnTo>
                          <a:pt x="541" y="45"/>
                        </a:lnTo>
                        <a:lnTo>
                          <a:pt x="548" y="48"/>
                        </a:lnTo>
                        <a:lnTo>
                          <a:pt x="565" y="55"/>
                        </a:lnTo>
                        <a:lnTo>
                          <a:pt x="567" y="57"/>
                        </a:lnTo>
                        <a:lnTo>
                          <a:pt x="567" y="59"/>
                        </a:lnTo>
                        <a:lnTo>
                          <a:pt x="570" y="64"/>
                        </a:lnTo>
                        <a:lnTo>
                          <a:pt x="572" y="76"/>
                        </a:lnTo>
                        <a:lnTo>
                          <a:pt x="574" y="81"/>
                        </a:lnTo>
                        <a:lnTo>
                          <a:pt x="574" y="83"/>
                        </a:lnTo>
                        <a:lnTo>
                          <a:pt x="574" y="83"/>
                        </a:lnTo>
                        <a:lnTo>
                          <a:pt x="572" y="85"/>
                        </a:lnTo>
                        <a:lnTo>
                          <a:pt x="572" y="88"/>
                        </a:lnTo>
                        <a:lnTo>
                          <a:pt x="570" y="90"/>
                        </a:lnTo>
                        <a:lnTo>
                          <a:pt x="567" y="92"/>
                        </a:lnTo>
                        <a:lnTo>
                          <a:pt x="567" y="95"/>
                        </a:lnTo>
                        <a:lnTo>
                          <a:pt x="565" y="95"/>
                        </a:lnTo>
                        <a:lnTo>
                          <a:pt x="560" y="97"/>
                        </a:lnTo>
                        <a:lnTo>
                          <a:pt x="553" y="97"/>
                        </a:lnTo>
                        <a:lnTo>
                          <a:pt x="553" y="97"/>
                        </a:lnTo>
                        <a:lnTo>
                          <a:pt x="551" y="97"/>
                        </a:lnTo>
                        <a:lnTo>
                          <a:pt x="546" y="104"/>
                        </a:lnTo>
                        <a:lnTo>
                          <a:pt x="546" y="109"/>
                        </a:lnTo>
                        <a:lnTo>
                          <a:pt x="558" y="116"/>
                        </a:lnTo>
                        <a:lnTo>
                          <a:pt x="560" y="118"/>
                        </a:lnTo>
                        <a:lnTo>
                          <a:pt x="563" y="121"/>
                        </a:lnTo>
                        <a:lnTo>
                          <a:pt x="563" y="123"/>
                        </a:lnTo>
                        <a:lnTo>
                          <a:pt x="563" y="126"/>
                        </a:lnTo>
                        <a:lnTo>
                          <a:pt x="563" y="128"/>
                        </a:lnTo>
                        <a:lnTo>
                          <a:pt x="563" y="128"/>
                        </a:lnTo>
                        <a:lnTo>
                          <a:pt x="563" y="133"/>
                        </a:lnTo>
                        <a:lnTo>
                          <a:pt x="565" y="135"/>
                        </a:lnTo>
                        <a:lnTo>
                          <a:pt x="567" y="145"/>
                        </a:lnTo>
                        <a:lnTo>
                          <a:pt x="570" y="149"/>
                        </a:lnTo>
                        <a:lnTo>
                          <a:pt x="570" y="152"/>
                        </a:lnTo>
                        <a:lnTo>
                          <a:pt x="567" y="163"/>
                        </a:lnTo>
                        <a:lnTo>
                          <a:pt x="565" y="171"/>
                        </a:lnTo>
                        <a:lnTo>
                          <a:pt x="565" y="173"/>
                        </a:lnTo>
                        <a:lnTo>
                          <a:pt x="565" y="175"/>
                        </a:lnTo>
                        <a:lnTo>
                          <a:pt x="565" y="185"/>
                        </a:lnTo>
                        <a:lnTo>
                          <a:pt x="567" y="201"/>
                        </a:lnTo>
                        <a:lnTo>
                          <a:pt x="567" y="206"/>
                        </a:lnTo>
                        <a:lnTo>
                          <a:pt x="565" y="206"/>
                        </a:lnTo>
                        <a:lnTo>
                          <a:pt x="565" y="208"/>
                        </a:lnTo>
                        <a:lnTo>
                          <a:pt x="558" y="218"/>
                        </a:lnTo>
                        <a:lnTo>
                          <a:pt x="556" y="220"/>
                        </a:lnTo>
                        <a:lnTo>
                          <a:pt x="556" y="223"/>
                        </a:lnTo>
                        <a:lnTo>
                          <a:pt x="553" y="227"/>
                        </a:lnTo>
                        <a:lnTo>
                          <a:pt x="553" y="237"/>
                        </a:lnTo>
                        <a:lnTo>
                          <a:pt x="553" y="242"/>
                        </a:lnTo>
                        <a:lnTo>
                          <a:pt x="551" y="244"/>
                        </a:lnTo>
                        <a:lnTo>
                          <a:pt x="548" y="246"/>
                        </a:lnTo>
                        <a:lnTo>
                          <a:pt x="548" y="249"/>
                        </a:lnTo>
                        <a:lnTo>
                          <a:pt x="546" y="251"/>
                        </a:lnTo>
                        <a:lnTo>
                          <a:pt x="546" y="256"/>
                        </a:lnTo>
                        <a:lnTo>
                          <a:pt x="544" y="260"/>
                        </a:lnTo>
                        <a:lnTo>
                          <a:pt x="546" y="263"/>
                        </a:lnTo>
                        <a:lnTo>
                          <a:pt x="546" y="263"/>
                        </a:lnTo>
                        <a:lnTo>
                          <a:pt x="546" y="265"/>
                        </a:lnTo>
                        <a:lnTo>
                          <a:pt x="548" y="265"/>
                        </a:lnTo>
                        <a:lnTo>
                          <a:pt x="548" y="268"/>
                        </a:lnTo>
                        <a:lnTo>
                          <a:pt x="551" y="268"/>
                        </a:lnTo>
                        <a:lnTo>
                          <a:pt x="556" y="268"/>
                        </a:lnTo>
                        <a:lnTo>
                          <a:pt x="558" y="268"/>
                        </a:lnTo>
                        <a:lnTo>
                          <a:pt x="558" y="270"/>
                        </a:lnTo>
                        <a:lnTo>
                          <a:pt x="558" y="272"/>
                        </a:lnTo>
                        <a:lnTo>
                          <a:pt x="560" y="277"/>
                        </a:lnTo>
                        <a:lnTo>
                          <a:pt x="560" y="279"/>
                        </a:lnTo>
                        <a:lnTo>
                          <a:pt x="560" y="279"/>
                        </a:lnTo>
                        <a:lnTo>
                          <a:pt x="563" y="282"/>
                        </a:lnTo>
                        <a:lnTo>
                          <a:pt x="563" y="282"/>
                        </a:lnTo>
                        <a:lnTo>
                          <a:pt x="565" y="286"/>
                        </a:lnTo>
                        <a:lnTo>
                          <a:pt x="567" y="289"/>
                        </a:lnTo>
                        <a:lnTo>
                          <a:pt x="567" y="291"/>
                        </a:lnTo>
                        <a:lnTo>
                          <a:pt x="567" y="294"/>
                        </a:lnTo>
                        <a:lnTo>
                          <a:pt x="565" y="298"/>
                        </a:lnTo>
                        <a:lnTo>
                          <a:pt x="565" y="301"/>
                        </a:lnTo>
                        <a:lnTo>
                          <a:pt x="565" y="305"/>
                        </a:lnTo>
                        <a:lnTo>
                          <a:pt x="565" y="305"/>
                        </a:lnTo>
                        <a:lnTo>
                          <a:pt x="567" y="310"/>
                        </a:lnTo>
                        <a:lnTo>
                          <a:pt x="572" y="322"/>
                        </a:lnTo>
                        <a:lnTo>
                          <a:pt x="572" y="322"/>
                        </a:lnTo>
                        <a:lnTo>
                          <a:pt x="574" y="324"/>
                        </a:lnTo>
                        <a:lnTo>
                          <a:pt x="574" y="324"/>
                        </a:lnTo>
                        <a:lnTo>
                          <a:pt x="579" y="324"/>
                        </a:lnTo>
                        <a:lnTo>
                          <a:pt x="582" y="327"/>
                        </a:lnTo>
                        <a:lnTo>
                          <a:pt x="584" y="327"/>
                        </a:lnTo>
                        <a:lnTo>
                          <a:pt x="584" y="329"/>
                        </a:lnTo>
                        <a:lnTo>
                          <a:pt x="584" y="334"/>
                        </a:lnTo>
                        <a:lnTo>
                          <a:pt x="584" y="336"/>
                        </a:lnTo>
                        <a:lnTo>
                          <a:pt x="586" y="336"/>
                        </a:lnTo>
                        <a:lnTo>
                          <a:pt x="589" y="339"/>
                        </a:lnTo>
                        <a:lnTo>
                          <a:pt x="591" y="339"/>
                        </a:lnTo>
                        <a:lnTo>
                          <a:pt x="593" y="339"/>
                        </a:lnTo>
                        <a:lnTo>
                          <a:pt x="593" y="339"/>
                        </a:lnTo>
                        <a:lnTo>
                          <a:pt x="596" y="339"/>
                        </a:lnTo>
                        <a:lnTo>
                          <a:pt x="596" y="336"/>
                        </a:lnTo>
                        <a:lnTo>
                          <a:pt x="601" y="331"/>
                        </a:lnTo>
                        <a:lnTo>
                          <a:pt x="601" y="331"/>
                        </a:lnTo>
                        <a:lnTo>
                          <a:pt x="603" y="331"/>
                        </a:lnTo>
                        <a:lnTo>
                          <a:pt x="610" y="331"/>
                        </a:lnTo>
                        <a:lnTo>
                          <a:pt x="612" y="329"/>
                        </a:lnTo>
                        <a:lnTo>
                          <a:pt x="615" y="329"/>
                        </a:lnTo>
                        <a:lnTo>
                          <a:pt x="615" y="329"/>
                        </a:lnTo>
                        <a:lnTo>
                          <a:pt x="615" y="327"/>
                        </a:lnTo>
                        <a:lnTo>
                          <a:pt x="617" y="327"/>
                        </a:lnTo>
                        <a:lnTo>
                          <a:pt x="617" y="324"/>
                        </a:lnTo>
                        <a:lnTo>
                          <a:pt x="617" y="322"/>
                        </a:lnTo>
                        <a:lnTo>
                          <a:pt x="617" y="320"/>
                        </a:lnTo>
                        <a:lnTo>
                          <a:pt x="617" y="317"/>
                        </a:lnTo>
                        <a:lnTo>
                          <a:pt x="617" y="315"/>
                        </a:lnTo>
                        <a:lnTo>
                          <a:pt x="617" y="315"/>
                        </a:lnTo>
                        <a:lnTo>
                          <a:pt x="619" y="312"/>
                        </a:lnTo>
                        <a:lnTo>
                          <a:pt x="619" y="312"/>
                        </a:lnTo>
                        <a:lnTo>
                          <a:pt x="624" y="312"/>
                        </a:lnTo>
                        <a:lnTo>
                          <a:pt x="627" y="312"/>
                        </a:lnTo>
                        <a:lnTo>
                          <a:pt x="631" y="310"/>
                        </a:lnTo>
                        <a:lnTo>
                          <a:pt x="634" y="310"/>
                        </a:lnTo>
                        <a:lnTo>
                          <a:pt x="634" y="310"/>
                        </a:lnTo>
                        <a:lnTo>
                          <a:pt x="636" y="310"/>
                        </a:lnTo>
                        <a:lnTo>
                          <a:pt x="641" y="312"/>
                        </a:lnTo>
                        <a:lnTo>
                          <a:pt x="641" y="312"/>
                        </a:lnTo>
                        <a:lnTo>
                          <a:pt x="643" y="312"/>
                        </a:lnTo>
                        <a:lnTo>
                          <a:pt x="653" y="308"/>
                        </a:lnTo>
                        <a:lnTo>
                          <a:pt x="655" y="308"/>
                        </a:lnTo>
                        <a:lnTo>
                          <a:pt x="657" y="308"/>
                        </a:lnTo>
                        <a:lnTo>
                          <a:pt x="660" y="310"/>
                        </a:lnTo>
                        <a:lnTo>
                          <a:pt x="667" y="312"/>
                        </a:lnTo>
                        <a:lnTo>
                          <a:pt x="657" y="331"/>
                        </a:lnTo>
                        <a:lnTo>
                          <a:pt x="655" y="336"/>
                        </a:lnTo>
                        <a:lnTo>
                          <a:pt x="653" y="348"/>
                        </a:lnTo>
                        <a:lnTo>
                          <a:pt x="648" y="360"/>
                        </a:lnTo>
                        <a:lnTo>
                          <a:pt x="643" y="365"/>
                        </a:lnTo>
                        <a:lnTo>
                          <a:pt x="619" y="414"/>
                        </a:lnTo>
                        <a:lnTo>
                          <a:pt x="619" y="421"/>
                        </a:lnTo>
                        <a:lnTo>
                          <a:pt x="622" y="433"/>
                        </a:lnTo>
                        <a:lnTo>
                          <a:pt x="629" y="462"/>
                        </a:lnTo>
                        <a:lnTo>
                          <a:pt x="631" y="478"/>
                        </a:lnTo>
                        <a:lnTo>
                          <a:pt x="629" y="478"/>
                        </a:lnTo>
                        <a:lnTo>
                          <a:pt x="629" y="480"/>
                        </a:lnTo>
                        <a:lnTo>
                          <a:pt x="629" y="483"/>
                        </a:lnTo>
                        <a:lnTo>
                          <a:pt x="631" y="485"/>
                        </a:lnTo>
                        <a:lnTo>
                          <a:pt x="631" y="490"/>
                        </a:lnTo>
                        <a:lnTo>
                          <a:pt x="636" y="495"/>
                        </a:lnTo>
                        <a:lnTo>
                          <a:pt x="643" y="492"/>
                        </a:lnTo>
                        <a:lnTo>
                          <a:pt x="648" y="492"/>
                        </a:lnTo>
                        <a:lnTo>
                          <a:pt x="650" y="499"/>
                        </a:lnTo>
                        <a:lnTo>
                          <a:pt x="650" y="509"/>
                        </a:lnTo>
                        <a:lnTo>
                          <a:pt x="653" y="511"/>
                        </a:lnTo>
                        <a:lnTo>
                          <a:pt x="655" y="514"/>
                        </a:lnTo>
                        <a:lnTo>
                          <a:pt x="655" y="516"/>
                        </a:lnTo>
                        <a:lnTo>
                          <a:pt x="653" y="521"/>
                        </a:lnTo>
                        <a:lnTo>
                          <a:pt x="655" y="530"/>
                        </a:lnTo>
                        <a:lnTo>
                          <a:pt x="653" y="535"/>
                        </a:lnTo>
                        <a:lnTo>
                          <a:pt x="660" y="535"/>
                        </a:lnTo>
                        <a:lnTo>
                          <a:pt x="662" y="535"/>
                        </a:lnTo>
                        <a:lnTo>
                          <a:pt x="664" y="535"/>
                        </a:lnTo>
                        <a:lnTo>
                          <a:pt x="664" y="535"/>
                        </a:lnTo>
                        <a:lnTo>
                          <a:pt x="667" y="537"/>
                        </a:lnTo>
                        <a:lnTo>
                          <a:pt x="669" y="540"/>
                        </a:lnTo>
                        <a:lnTo>
                          <a:pt x="669" y="542"/>
                        </a:lnTo>
                        <a:lnTo>
                          <a:pt x="669" y="542"/>
                        </a:lnTo>
                        <a:lnTo>
                          <a:pt x="671" y="544"/>
                        </a:lnTo>
                        <a:lnTo>
                          <a:pt x="671" y="544"/>
                        </a:lnTo>
                        <a:lnTo>
                          <a:pt x="674" y="542"/>
                        </a:lnTo>
                        <a:lnTo>
                          <a:pt x="676" y="542"/>
                        </a:lnTo>
                        <a:lnTo>
                          <a:pt x="676" y="540"/>
                        </a:lnTo>
                        <a:lnTo>
                          <a:pt x="676" y="537"/>
                        </a:lnTo>
                        <a:lnTo>
                          <a:pt x="679" y="537"/>
                        </a:lnTo>
                        <a:lnTo>
                          <a:pt x="679" y="537"/>
                        </a:lnTo>
                        <a:lnTo>
                          <a:pt x="681" y="537"/>
                        </a:lnTo>
                        <a:lnTo>
                          <a:pt x="686" y="537"/>
                        </a:lnTo>
                        <a:lnTo>
                          <a:pt x="695" y="547"/>
                        </a:lnTo>
                        <a:lnTo>
                          <a:pt x="698" y="549"/>
                        </a:lnTo>
                        <a:lnTo>
                          <a:pt x="700" y="551"/>
                        </a:lnTo>
                        <a:lnTo>
                          <a:pt x="700" y="554"/>
                        </a:lnTo>
                        <a:lnTo>
                          <a:pt x="733" y="573"/>
                        </a:lnTo>
                        <a:lnTo>
                          <a:pt x="742" y="575"/>
                        </a:lnTo>
                        <a:lnTo>
                          <a:pt x="745" y="575"/>
                        </a:lnTo>
                        <a:lnTo>
                          <a:pt x="747" y="577"/>
                        </a:lnTo>
                        <a:lnTo>
                          <a:pt x="750" y="580"/>
                        </a:lnTo>
                        <a:lnTo>
                          <a:pt x="750" y="580"/>
                        </a:lnTo>
                        <a:lnTo>
                          <a:pt x="752" y="582"/>
                        </a:lnTo>
                        <a:lnTo>
                          <a:pt x="752" y="582"/>
                        </a:lnTo>
                        <a:lnTo>
                          <a:pt x="752" y="585"/>
                        </a:lnTo>
                        <a:lnTo>
                          <a:pt x="750" y="587"/>
                        </a:lnTo>
                        <a:lnTo>
                          <a:pt x="750" y="589"/>
                        </a:lnTo>
                        <a:lnTo>
                          <a:pt x="750" y="589"/>
                        </a:lnTo>
                        <a:lnTo>
                          <a:pt x="750" y="592"/>
                        </a:lnTo>
                        <a:lnTo>
                          <a:pt x="752" y="592"/>
                        </a:lnTo>
                        <a:lnTo>
                          <a:pt x="752" y="592"/>
                        </a:lnTo>
                        <a:lnTo>
                          <a:pt x="754" y="594"/>
                        </a:lnTo>
                        <a:lnTo>
                          <a:pt x="754" y="594"/>
                        </a:lnTo>
                        <a:lnTo>
                          <a:pt x="759" y="594"/>
                        </a:lnTo>
                        <a:lnTo>
                          <a:pt x="764" y="592"/>
                        </a:lnTo>
                        <a:lnTo>
                          <a:pt x="764" y="592"/>
                        </a:lnTo>
                        <a:lnTo>
                          <a:pt x="766" y="592"/>
                        </a:lnTo>
                        <a:lnTo>
                          <a:pt x="769" y="594"/>
                        </a:lnTo>
                        <a:lnTo>
                          <a:pt x="769" y="596"/>
                        </a:lnTo>
                        <a:lnTo>
                          <a:pt x="769" y="596"/>
                        </a:lnTo>
                        <a:lnTo>
                          <a:pt x="766" y="601"/>
                        </a:lnTo>
                        <a:lnTo>
                          <a:pt x="766" y="601"/>
                        </a:lnTo>
                        <a:lnTo>
                          <a:pt x="766" y="603"/>
                        </a:lnTo>
                        <a:lnTo>
                          <a:pt x="766" y="603"/>
                        </a:lnTo>
                        <a:lnTo>
                          <a:pt x="769" y="606"/>
                        </a:lnTo>
                        <a:lnTo>
                          <a:pt x="769" y="606"/>
                        </a:lnTo>
                        <a:lnTo>
                          <a:pt x="773" y="611"/>
                        </a:lnTo>
                        <a:lnTo>
                          <a:pt x="776" y="613"/>
                        </a:lnTo>
                        <a:lnTo>
                          <a:pt x="778" y="613"/>
                        </a:lnTo>
                        <a:lnTo>
                          <a:pt x="780" y="613"/>
                        </a:lnTo>
                        <a:lnTo>
                          <a:pt x="780" y="613"/>
                        </a:lnTo>
                        <a:lnTo>
                          <a:pt x="783" y="611"/>
                        </a:lnTo>
                        <a:lnTo>
                          <a:pt x="785" y="608"/>
                        </a:lnTo>
                        <a:lnTo>
                          <a:pt x="785" y="608"/>
                        </a:lnTo>
                        <a:lnTo>
                          <a:pt x="785" y="606"/>
                        </a:lnTo>
                        <a:lnTo>
                          <a:pt x="795" y="606"/>
                        </a:lnTo>
                        <a:lnTo>
                          <a:pt x="797" y="603"/>
                        </a:lnTo>
                        <a:lnTo>
                          <a:pt x="797" y="603"/>
                        </a:lnTo>
                        <a:lnTo>
                          <a:pt x="799" y="601"/>
                        </a:lnTo>
                        <a:lnTo>
                          <a:pt x="802" y="601"/>
                        </a:lnTo>
                        <a:lnTo>
                          <a:pt x="804" y="601"/>
                        </a:lnTo>
                        <a:lnTo>
                          <a:pt x="813" y="603"/>
                        </a:lnTo>
                        <a:lnTo>
                          <a:pt x="816" y="606"/>
                        </a:lnTo>
                        <a:lnTo>
                          <a:pt x="813" y="611"/>
                        </a:lnTo>
                        <a:lnTo>
                          <a:pt x="811" y="611"/>
                        </a:lnTo>
                        <a:lnTo>
                          <a:pt x="811" y="613"/>
                        </a:lnTo>
                        <a:lnTo>
                          <a:pt x="811" y="613"/>
                        </a:lnTo>
                        <a:lnTo>
                          <a:pt x="813" y="622"/>
                        </a:lnTo>
                        <a:lnTo>
                          <a:pt x="813" y="622"/>
                        </a:lnTo>
                        <a:lnTo>
                          <a:pt x="821" y="625"/>
                        </a:lnTo>
                        <a:lnTo>
                          <a:pt x="837" y="622"/>
                        </a:lnTo>
                        <a:lnTo>
                          <a:pt x="839" y="632"/>
                        </a:lnTo>
                        <a:lnTo>
                          <a:pt x="849" y="641"/>
                        </a:lnTo>
                        <a:lnTo>
                          <a:pt x="877" y="653"/>
                        </a:lnTo>
                        <a:lnTo>
                          <a:pt x="882" y="653"/>
                        </a:lnTo>
                        <a:lnTo>
                          <a:pt x="887" y="656"/>
                        </a:lnTo>
                        <a:lnTo>
                          <a:pt x="889" y="663"/>
                        </a:lnTo>
                        <a:lnTo>
                          <a:pt x="873" y="660"/>
                        </a:lnTo>
                        <a:lnTo>
                          <a:pt x="851" y="663"/>
                        </a:lnTo>
                        <a:lnTo>
                          <a:pt x="851" y="663"/>
                        </a:lnTo>
                        <a:lnTo>
                          <a:pt x="849" y="665"/>
                        </a:lnTo>
                        <a:lnTo>
                          <a:pt x="849" y="665"/>
                        </a:lnTo>
                        <a:lnTo>
                          <a:pt x="849" y="670"/>
                        </a:lnTo>
                        <a:lnTo>
                          <a:pt x="847" y="672"/>
                        </a:lnTo>
                        <a:lnTo>
                          <a:pt x="844" y="672"/>
                        </a:lnTo>
                        <a:lnTo>
                          <a:pt x="839" y="670"/>
                        </a:lnTo>
                        <a:lnTo>
                          <a:pt x="818" y="679"/>
                        </a:lnTo>
                        <a:lnTo>
                          <a:pt x="813" y="682"/>
                        </a:lnTo>
                        <a:lnTo>
                          <a:pt x="811" y="679"/>
                        </a:lnTo>
                        <a:lnTo>
                          <a:pt x="809" y="677"/>
                        </a:lnTo>
                        <a:lnTo>
                          <a:pt x="806" y="677"/>
                        </a:lnTo>
                        <a:lnTo>
                          <a:pt x="806" y="674"/>
                        </a:lnTo>
                        <a:lnTo>
                          <a:pt x="790" y="672"/>
                        </a:lnTo>
                        <a:lnTo>
                          <a:pt x="787" y="672"/>
                        </a:lnTo>
                        <a:lnTo>
                          <a:pt x="764" y="679"/>
                        </a:lnTo>
                        <a:lnTo>
                          <a:pt x="761" y="679"/>
                        </a:lnTo>
                        <a:lnTo>
                          <a:pt x="761" y="679"/>
                        </a:lnTo>
                        <a:lnTo>
                          <a:pt x="761" y="682"/>
                        </a:lnTo>
                        <a:lnTo>
                          <a:pt x="759" y="684"/>
                        </a:lnTo>
                        <a:lnTo>
                          <a:pt x="759" y="686"/>
                        </a:lnTo>
                        <a:lnTo>
                          <a:pt x="757" y="686"/>
                        </a:lnTo>
                        <a:lnTo>
                          <a:pt x="747" y="691"/>
                        </a:lnTo>
                        <a:lnTo>
                          <a:pt x="745" y="691"/>
                        </a:lnTo>
                        <a:lnTo>
                          <a:pt x="745" y="693"/>
                        </a:lnTo>
                        <a:lnTo>
                          <a:pt x="740" y="696"/>
                        </a:lnTo>
                        <a:lnTo>
                          <a:pt x="733" y="701"/>
                        </a:lnTo>
                        <a:lnTo>
                          <a:pt x="728" y="698"/>
                        </a:lnTo>
                        <a:lnTo>
                          <a:pt x="728" y="696"/>
                        </a:lnTo>
                        <a:lnTo>
                          <a:pt x="724" y="696"/>
                        </a:lnTo>
                        <a:lnTo>
                          <a:pt x="724" y="696"/>
                        </a:lnTo>
                        <a:lnTo>
                          <a:pt x="693" y="691"/>
                        </a:lnTo>
                        <a:lnTo>
                          <a:pt x="693" y="691"/>
                        </a:lnTo>
                        <a:lnTo>
                          <a:pt x="690" y="691"/>
                        </a:lnTo>
                        <a:lnTo>
                          <a:pt x="690" y="689"/>
                        </a:lnTo>
                        <a:lnTo>
                          <a:pt x="690" y="686"/>
                        </a:lnTo>
                        <a:lnTo>
                          <a:pt x="693" y="686"/>
                        </a:lnTo>
                        <a:lnTo>
                          <a:pt x="693" y="684"/>
                        </a:lnTo>
                        <a:lnTo>
                          <a:pt x="693" y="682"/>
                        </a:lnTo>
                        <a:lnTo>
                          <a:pt x="690" y="682"/>
                        </a:lnTo>
                        <a:lnTo>
                          <a:pt x="690" y="679"/>
                        </a:lnTo>
                        <a:lnTo>
                          <a:pt x="690" y="679"/>
                        </a:lnTo>
                        <a:lnTo>
                          <a:pt x="688" y="679"/>
                        </a:lnTo>
                        <a:lnTo>
                          <a:pt x="683" y="674"/>
                        </a:lnTo>
                        <a:lnTo>
                          <a:pt x="683" y="674"/>
                        </a:lnTo>
                        <a:lnTo>
                          <a:pt x="679" y="674"/>
                        </a:lnTo>
                        <a:lnTo>
                          <a:pt x="674" y="677"/>
                        </a:lnTo>
                        <a:lnTo>
                          <a:pt x="671" y="677"/>
                        </a:lnTo>
                        <a:lnTo>
                          <a:pt x="671" y="674"/>
                        </a:lnTo>
                        <a:lnTo>
                          <a:pt x="669" y="674"/>
                        </a:lnTo>
                        <a:lnTo>
                          <a:pt x="667" y="677"/>
                        </a:lnTo>
                        <a:lnTo>
                          <a:pt x="662" y="686"/>
                        </a:lnTo>
                        <a:lnTo>
                          <a:pt x="655" y="698"/>
                        </a:lnTo>
                        <a:lnTo>
                          <a:pt x="645" y="708"/>
                        </a:lnTo>
                        <a:lnTo>
                          <a:pt x="636" y="712"/>
                        </a:lnTo>
                        <a:lnTo>
                          <a:pt x="622" y="712"/>
                        </a:lnTo>
                        <a:lnTo>
                          <a:pt x="610" y="712"/>
                        </a:lnTo>
                        <a:lnTo>
                          <a:pt x="598" y="708"/>
                        </a:lnTo>
                        <a:lnTo>
                          <a:pt x="593" y="701"/>
                        </a:lnTo>
                        <a:lnTo>
                          <a:pt x="586" y="689"/>
                        </a:lnTo>
                        <a:lnTo>
                          <a:pt x="582" y="686"/>
                        </a:lnTo>
                        <a:lnTo>
                          <a:pt x="577" y="689"/>
                        </a:lnTo>
                        <a:lnTo>
                          <a:pt x="572" y="691"/>
                        </a:lnTo>
                        <a:lnTo>
                          <a:pt x="567" y="691"/>
                        </a:lnTo>
                        <a:lnTo>
                          <a:pt x="560" y="689"/>
                        </a:lnTo>
                        <a:lnTo>
                          <a:pt x="527" y="672"/>
                        </a:lnTo>
                        <a:lnTo>
                          <a:pt x="515" y="670"/>
                        </a:lnTo>
                        <a:lnTo>
                          <a:pt x="504" y="674"/>
                        </a:lnTo>
                        <a:lnTo>
                          <a:pt x="492" y="679"/>
                        </a:lnTo>
                        <a:lnTo>
                          <a:pt x="482" y="679"/>
                        </a:lnTo>
                        <a:lnTo>
                          <a:pt x="473" y="667"/>
                        </a:lnTo>
                        <a:lnTo>
                          <a:pt x="466" y="656"/>
                        </a:lnTo>
                        <a:lnTo>
                          <a:pt x="466" y="651"/>
                        </a:lnTo>
                        <a:lnTo>
                          <a:pt x="463" y="651"/>
                        </a:lnTo>
                        <a:lnTo>
                          <a:pt x="459" y="646"/>
                        </a:lnTo>
                        <a:lnTo>
                          <a:pt x="456" y="644"/>
                        </a:lnTo>
                        <a:lnTo>
                          <a:pt x="451" y="644"/>
                        </a:lnTo>
                        <a:lnTo>
                          <a:pt x="433" y="656"/>
                        </a:lnTo>
                        <a:lnTo>
                          <a:pt x="433" y="646"/>
                        </a:lnTo>
                        <a:lnTo>
                          <a:pt x="428" y="641"/>
                        </a:lnTo>
                        <a:lnTo>
                          <a:pt x="421" y="644"/>
                        </a:lnTo>
                        <a:lnTo>
                          <a:pt x="423" y="651"/>
                        </a:lnTo>
                        <a:lnTo>
                          <a:pt x="428" y="658"/>
                        </a:lnTo>
                        <a:lnTo>
                          <a:pt x="428" y="663"/>
                        </a:lnTo>
                        <a:lnTo>
                          <a:pt x="423" y="663"/>
                        </a:lnTo>
                        <a:lnTo>
                          <a:pt x="409" y="660"/>
                        </a:lnTo>
                        <a:lnTo>
                          <a:pt x="407" y="663"/>
                        </a:lnTo>
                        <a:lnTo>
                          <a:pt x="411" y="667"/>
                        </a:lnTo>
                        <a:lnTo>
                          <a:pt x="411" y="672"/>
                        </a:lnTo>
                        <a:lnTo>
                          <a:pt x="409" y="674"/>
                        </a:lnTo>
                        <a:lnTo>
                          <a:pt x="407" y="674"/>
                        </a:lnTo>
                        <a:lnTo>
                          <a:pt x="407" y="672"/>
                        </a:lnTo>
                        <a:lnTo>
                          <a:pt x="402" y="667"/>
                        </a:lnTo>
                        <a:lnTo>
                          <a:pt x="390" y="663"/>
                        </a:lnTo>
                        <a:lnTo>
                          <a:pt x="388" y="658"/>
                        </a:lnTo>
                        <a:lnTo>
                          <a:pt x="385" y="658"/>
                        </a:lnTo>
                        <a:lnTo>
                          <a:pt x="385" y="660"/>
                        </a:lnTo>
                        <a:lnTo>
                          <a:pt x="385" y="660"/>
                        </a:lnTo>
                        <a:lnTo>
                          <a:pt x="385" y="660"/>
                        </a:lnTo>
                        <a:lnTo>
                          <a:pt x="383" y="660"/>
                        </a:lnTo>
                        <a:lnTo>
                          <a:pt x="385" y="672"/>
                        </a:lnTo>
                        <a:lnTo>
                          <a:pt x="376" y="677"/>
                        </a:lnTo>
                        <a:lnTo>
                          <a:pt x="364" y="677"/>
                        </a:lnTo>
                        <a:lnTo>
                          <a:pt x="354" y="672"/>
                        </a:lnTo>
                        <a:lnTo>
                          <a:pt x="350" y="670"/>
                        </a:lnTo>
                        <a:lnTo>
                          <a:pt x="350" y="670"/>
                        </a:lnTo>
                        <a:lnTo>
                          <a:pt x="350" y="663"/>
                        </a:lnTo>
                        <a:lnTo>
                          <a:pt x="350" y="660"/>
                        </a:lnTo>
                        <a:lnTo>
                          <a:pt x="350" y="658"/>
                        </a:lnTo>
                        <a:lnTo>
                          <a:pt x="350" y="658"/>
                        </a:lnTo>
                        <a:lnTo>
                          <a:pt x="345" y="656"/>
                        </a:lnTo>
                        <a:lnTo>
                          <a:pt x="343" y="658"/>
                        </a:lnTo>
                        <a:lnTo>
                          <a:pt x="338" y="663"/>
                        </a:lnTo>
                        <a:lnTo>
                          <a:pt x="336" y="665"/>
                        </a:lnTo>
                        <a:lnTo>
                          <a:pt x="331" y="665"/>
                        </a:lnTo>
                        <a:lnTo>
                          <a:pt x="326" y="658"/>
                        </a:lnTo>
                        <a:lnTo>
                          <a:pt x="324" y="656"/>
                        </a:lnTo>
                        <a:lnTo>
                          <a:pt x="321" y="658"/>
                        </a:lnTo>
                        <a:lnTo>
                          <a:pt x="319" y="660"/>
                        </a:lnTo>
                        <a:lnTo>
                          <a:pt x="321" y="665"/>
                        </a:lnTo>
                        <a:lnTo>
                          <a:pt x="321" y="667"/>
                        </a:lnTo>
                        <a:lnTo>
                          <a:pt x="324" y="672"/>
                        </a:lnTo>
                        <a:lnTo>
                          <a:pt x="321" y="677"/>
                        </a:lnTo>
                        <a:lnTo>
                          <a:pt x="319" y="677"/>
                        </a:lnTo>
                        <a:lnTo>
                          <a:pt x="312" y="672"/>
                        </a:lnTo>
                        <a:lnTo>
                          <a:pt x="310" y="672"/>
                        </a:lnTo>
                        <a:lnTo>
                          <a:pt x="307" y="672"/>
                        </a:lnTo>
                        <a:lnTo>
                          <a:pt x="300" y="674"/>
                        </a:lnTo>
                        <a:lnTo>
                          <a:pt x="286" y="674"/>
                        </a:lnTo>
                        <a:lnTo>
                          <a:pt x="286" y="682"/>
                        </a:lnTo>
                        <a:lnTo>
                          <a:pt x="283" y="684"/>
                        </a:lnTo>
                        <a:lnTo>
                          <a:pt x="276" y="701"/>
                        </a:lnTo>
                        <a:lnTo>
                          <a:pt x="262" y="745"/>
                        </a:lnTo>
                        <a:lnTo>
                          <a:pt x="262" y="750"/>
                        </a:lnTo>
                        <a:lnTo>
                          <a:pt x="260" y="755"/>
                        </a:lnTo>
                        <a:lnTo>
                          <a:pt x="260" y="757"/>
                        </a:lnTo>
                        <a:lnTo>
                          <a:pt x="260" y="760"/>
                        </a:lnTo>
                        <a:lnTo>
                          <a:pt x="260" y="764"/>
                        </a:lnTo>
                        <a:lnTo>
                          <a:pt x="260" y="767"/>
                        </a:lnTo>
                        <a:lnTo>
                          <a:pt x="262" y="769"/>
                        </a:lnTo>
                        <a:lnTo>
                          <a:pt x="262" y="769"/>
                        </a:lnTo>
                        <a:lnTo>
                          <a:pt x="265" y="771"/>
                        </a:lnTo>
                        <a:lnTo>
                          <a:pt x="265" y="771"/>
                        </a:lnTo>
                        <a:lnTo>
                          <a:pt x="267" y="774"/>
                        </a:lnTo>
                        <a:lnTo>
                          <a:pt x="274" y="774"/>
                        </a:lnTo>
                        <a:lnTo>
                          <a:pt x="276" y="776"/>
                        </a:lnTo>
                        <a:lnTo>
                          <a:pt x="276" y="776"/>
                        </a:lnTo>
                        <a:lnTo>
                          <a:pt x="279" y="779"/>
                        </a:lnTo>
                        <a:lnTo>
                          <a:pt x="279" y="779"/>
                        </a:lnTo>
                        <a:lnTo>
                          <a:pt x="279" y="781"/>
                        </a:lnTo>
                        <a:lnTo>
                          <a:pt x="279" y="783"/>
                        </a:lnTo>
                        <a:lnTo>
                          <a:pt x="279" y="795"/>
                        </a:lnTo>
                        <a:lnTo>
                          <a:pt x="276" y="802"/>
                        </a:lnTo>
                        <a:lnTo>
                          <a:pt x="272" y="816"/>
                        </a:lnTo>
                        <a:lnTo>
                          <a:pt x="269" y="821"/>
                        </a:lnTo>
                        <a:lnTo>
                          <a:pt x="267" y="824"/>
                        </a:lnTo>
                        <a:lnTo>
                          <a:pt x="269" y="826"/>
                        </a:lnTo>
                        <a:lnTo>
                          <a:pt x="269" y="828"/>
                        </a:lnTo>
                        <a:lnTo>
                          <a:pt x="274" y="835"/>
                        </a:lnTo>
                        <a:lnTo>
                          <a:pt x="274" y="842"/>
                        </a:lnTo>
                        <a:lnTo>
                          <a:pt x="276" y="842"/>
                        </a:lnTo>
                        <a:lnTo>
                          <a:pt x="276" y="845"/>
                        </a:lnTo>
                        <a:lnTo>
                          <a:pt x="274" y="847"/>
                        </a:lnTo>
                        <a:lnTo>
                          <a:pt x="274" y="850"/>
                        </a:lnTo>
                        <a:lnTo>
                          <a:pt x="272" y="852"/>
                        </a:lnTo>
                        <a:lnTo>
                          <a:pt x="269" y="852"/>
                        </a:lnTo>
                        <a:lnTo>
                          <a:pt x="267" y="852"/>
                        </a:lnTo>
                        <a:lnTo>
                          <a:pt x="262" y="852"/>
                        </a:lnTo>
                        <a:lnTo>
                          <a:pt x="260" y="852"/>
                        </a:lnTo>
                        <a:lnTo>
                          <a:pt x="257" y="850"/>
                        </a:lnTo>
                        <a:lnTo>
                          <a:pt x="255" y="847"/>
                        </a:lnTo>
                        <a:lnTo>
                          <a:pt x="255" y="845"/>
                        </a:lnTo>
                        <a:lnTo>
                          <a:pt x="253" y="845"/>
                        </a:lnTo>
                        <a:lnTo>
                          <a:pt x="253" y="845"/>
                        </a:lnTo>
                        <a:lnTo>
                          <a:pt x="253" y="847"/>
                        </a:lnTo>
                        <a:lnTo>
                          <a:pt x="253" y="850"/>
                        </a:lnTo>
                        <a:lnTo>
                          <a:pt x="253" y="854"/>
                        </a:lnTo>
                        <a:lnTo>
                          <a:pt x="253" y="857"/>
                        </a:lnTo>
                        <a:lnTo>
                          <a:pt x="253" y="859"/>
                        </a:lnTo>
                        <a:lnTo>
                          <a:pt x="250" y="861"/>
                        </a:lnTo>
                        <a:lnTo>
                          <a:pt x="241" y="861"/>
                        </a:lnTo>
                        <a:lnTo>
                          <a:pt x="241" y="845"/>
                        </a:lnTo>
                        <a:lnTo>
                          <a:pt x="239" y="840"/>
                        </a:lnTo>
                        <a:lnTo>
                          <a:pt x="236" y="838"/>
                        </a:lnTo>
                        <a:lnTo>
                          <a:pt x="236" y="838"/>
                        </a:lnTo>
                        <a:lnTo>
                          <a:pt x="234" y="833"/>
                        </a:lnTo>
                        <a:lnTo>
                          <a:pt x="227" y="819"/>
                        </a:lnTo>
                        <a:lnTo>
                          <a:pt x="222" y="812"/>
                        </a:lnTo>
                        <a:lnTo>
                          <a:pt x="222" y="809"/>
                        </a:lnTo>
                        <a:lnTo>
                          <a:pt x="220" y="807"/>
                        </a:lnTo>
                        <a:lnTo>
                          <a:pt x="220" y="807"/>
                        </a:lnTo>
                        <a:lnTo>
                          <a:pt x="217" y="807"/>
                        </a:lnTo>
                        <a:lnTo>
                          <a:pt x="215" y="807"/>
                        </a:lnTo>
                        <a:lnTo>
                          <a:pt x="208" y="805"/>
                        </a:lnTo>
                        <a:lnTo>
                          <a:pt x="201" y="807"/>
                        </a:lnTo>
                        <a:lnTo>
                          <a:pt x="198" y="807"/>
                        </a:lnTo>
                        <a:lnTo>
                          <a:pt x="196" y="805"/>
                        </a:lnTo>
                        <a:lnTo>
                          <a:pt x="191" y="800"/>
                        </a:lnTo>
                        <a:lnTo>
                          <a:pt x="189" y="798"/>
                        </a:lnTo>
                        <a:lnTo>
                          <a:pt x="186" y="795"/>
                        </a:lnTo>
                        <a:lnTo>
                          <a:pt x="186" y="793"/>
                        </a:lnTo>
                        <a:lnTo>
                          <a:pt x="186" y="793"/>
                        </a:lnTo>
                        <a:lnTo>
                          <a:pt x="186" y="790"/>
                        </a:lnTo>
                        <a:lnTo>
                          <a:pt x="186" y="788"/>
                        </a:lnTo>
                        <a:lnTo>
                          <a:pt x="189" y="786"/>
                        </a:lnTo>
                        <a:lnTo>
                          <a:pt x="186" y="783"/>
                        </a:lnTo>
                        <a:lnTo>
                          <a:pt x="186" y="781"/>
                        </a:lnTo>
                        <a:lnTo>
                          <a:pt x="186" y="781"/>
                        </a:lnTo>
                        <a:lnTo>
                          <a:pt x="168" y="767"/>
                        </a:lnTo>
                        <a:lnTo>
                          <a:pt x="160" y="762"/>
                        </a:lnTo>
                        <a:lnTo>
                          <a:pt x="160" y="760"/>
                        </a:lnTo>
                        <a:lnTo>
                          <a:pt x="158" y="757"/>
                        </a:lnTo>
                        <a:lnTo>
                          <a:pt x="158" y="753"/>
                        </a:lnTo>
                        <a:lnTo>
                          <a:pt x="158" y="750"/>
                        </a:lnTo>
                        <a:lnTo>
                          <a:pt x="158" y="748"/>
                        </a:lnTo>
                        <a:lnTo>
                          <a:pt x="156" y="745"/>
                        </a:lnTo>
                        <a:lnTo>
                          <a:pt x="156" y="743"/>
                        </a:lnTo>
                        <a:lnTo>
                          <a:pt x="153" y="743"/>
                        </a:lnTo>
                        <a:lnTo>
                          <a:pt x="153" y="741"/>
                        </a:lnTo>
                        <a:lnTo>
                          <a:pt x="151" y="741"/>
                        </a:lnTo>
                        <a:lnTo>
                          <a:pt x="149" y="741"/>
                        </a:lnTo>
                        <a:lnTo>
                          <a:pt x="139" y="741"/>
                        </a:lnTo>
                        <a:lnTo>
                          <a:pt x="137" y="741"/>
                        </a:lnTo>
                        <a:lnTo>
                          <a:pt x="134" y="738"/>
                        </a:lnTo>
                        <a:lnTo>
                          <a:pt x="130" y="736"/>
                        </a:lnTo>
                        <a:lnTo>
                          <a:pt x="130" y="736"/>
                        </a:lnTo>
                        <a:lnTo>
                          <a:pt x="130" y="736"/>
                        </a:lnTo>
                        <a:lnTo>
                          <a:pt x="130" y="734"/>
                        </a:lnTo>
                        <a:lnTo>
                          <a:pt x="127" y="731"/>
                        </a:lnTo>
                        <a:lnTo>
                          <a:pt x="127" y="731"/>
                        </a:lnTo>
                        <a:lnTo>
                          <a:pt x="127" y="729"/>
                        </a:lnTo>
                        <a:lnTo>
                          <a:pt x="127" y="727"/>
                        </a:lnTo>
                        <a:lnTo>
                          <a:pt x="127" y="717"/>
                        </a:lnTo>
                        <a:lnTo>
                          <a:pt x="127" y="715"/>
                        </a:lnTo>
                        <a:lnTo>
                          <a:pt x="125" y="715"/>
                        </a:lnTo>
                        <a:lnTo>
                          <a:pt x="118" y="712"/>
                        </a:lnTo>
                        <a:lnTo>
                          <a:pt x="113" y="715"/>
                        </a:lnTo>
                        <a:lnTo>
                          <a:pt x="97" y="729"/>
                        </a:lnTo>
                        <a:lnTo>
                          <a:pt x="89" y="731"/>
                        </a:lnTo>
                        <a:lnTo>
                          <a:pt x="78" y="731"/>
                        </a:lnTo>
                        <a:lnTo>
                          <a:pt x="73" y="729"/>
                        </a:lnTo>
                        <a:lnTo>
                          <a:pt x="68" y="729"/>
                        </a:lnTo>
                        <a:lnTo>
                          <a:pt x="66" y="734"/>
                        </a:lnTo>
                        <a:lnTo>
                          <a:pt x="56" y="727"/>
                        </a:lnTo>
                        <a:lnTo>
                          <a:pt x="52" y="719"/>
                        </a:lnTo>
                        <a:lnTo>
                          <a:pt x="42" y="701"/>
                        </a:lnTo>
                        <a:lnTo>
                          <a:pt x="33" y="689"/>
                        </a:lnTo>
                        <a:lnTo>
                          <a:pt x="28" y="682"/>
                        </a:lnTo>
                        <a:lnTo>
                          <a:pt x="28" y="682"/>
                        </a:lnTo>
                        <a:lnTo>
                          <a:pt x="26" y="677"/>
                        </a:lnTo>
                        <a:lnTo>
                          <a:pt x="23" y="674"/>
                        </a:lnTo>
                        <a:lnTo>
                          <a:pt x="23" y="672"/>
                        </a:lnTo>
                        <a:lnTo>
                          <a:pt x="26" y="665"/>
                        </a:lnTo>
                        <a:lnTo>
                          <a:pt x="23" y="663"/>
                        </a:lnTo>
                        <a:lnTo>
                          <a:pt x="23" y="663"/>
                        </a:lnTo>
                        <a:lnTo>
                          <a:pt x="21" y="660"/>
                        </a:lnTo>
                        <a:lnTo>
                          <a:pt x="19" y="660"/>
                        </a:lnTo>
                        <a:lnTo>
                          <a:pt x="16" y="656"/>
                        </a:lnTo>
                        <a:lnTo>
                          <a:pt x="16" y="653"/>
                        </a:lnTo>
                        <a:lnTo>
                          <a:pt x="16" y="651"/>
                        </a:lnTo>
                        <a:lnTo>
                          <a:pt x="16" y="646"/>
                        </a:lnTo>
                        <a:lnTo>
                          <a:pt x="14" y="646"/>
                        </a:lnTo>
                        <a:lnTo>
                          <a:pt x="14" y="644"/>
                        </a:lnTo>
                        <a:lnTo>
                          <a:pt x="11" y="644"/>
                        </a:lnTo>
                        <a:lnTo>
                          <a:pt x="11" y="641"/>
                        </a:lnTo>
                        <a:lnTo>
                          <a:pt x="9" y="632"/>
                        </a:lnTo>
                        <a:lnTo>
                          <a:pt x="9" y="630"/>
                        </a:lnTo>
                        <a:lnTo>
                          <a:pt x="7" y="630"/>
                        </a:lnTo>
                        <a:lnTo>
                          <a:pt x="4" y="627"/>
                        </a:lnTo>
                        <a:lnTo>
                          <a:pt x="2" y="627"/>
                        </a:lnTo>
                        <a:lnTo>
                          <a:pt x="2" y="625"/>
                        </a:lnTo>
                        <a:lnTo>
                          <a:pt x="2" y="622"/>
                        </a:lnTo>
                        <a:lnTo>
                          <a:pt x="2" y="622"/>
                        </a:lnTo>
                        <a:lnTo>
                          <a:pt x="4" y="620"/>
                        </a:lnTo>
                        <a:lnTo>
                          <a:pt x="4" y="615"/>
                        </a:lnTo>
                        <a:lnTo>
                          <a:pt x="9" y="611"/>
                        </a:lnTo>
                        <a:lnTo>
                          <a:pt x="9" y="603"/>
                        </a:lnTo>
                        <a:lnTo>
                          <a:pt x="11" y="599"/>
                        </a:lnTo>
                        <a:lnTo>
                          <a:pt x="11" y="594"/>
                        </a:lnTo>
                        <a:lnTo>
                          <a:pt x="14" y="592"/>
                        </a:lnTo>
                        <a:lnTo>
                          <a:pt x="14" y="592"/>
                        </a:lnTo>
                        <a:lnTo>
                          <a:pt x="16" y="592"/>
                        </a:lnTo>
                        <a:lnTo>
                          <a:pt x="21" y="592"/>
                        </a:lnTo>
                        <a:lnTo>
                          <a:pt x="35" y="592"/>
                        </a:lnTo>
                        <a:lnTo>
                          <a:pt x="37" y="594"/>
                        </a:lnTo>
                        <a:lnTo>
                          <a:pt x="37" y="594"/>
                        </a:lnTo>
                        <a:lnTo>
                          <a:pt x="40" y="594"/>
                        </a:lnTo>
                        <a:lnTo>
                          <a:pt x="42" y="596"/>
                        </a:lnTo>
                        <a:lnTo>
                          <a:pt x="42" y="599"/>
                        </a:lnTo>
                        <a:lnTo>
                          <a:pt x="49" y="608"/>
                        </a:lnTo>
                        <a:lnTo>
                          <a:pt x="52" y="611"/>
                        </a:lnTo>
                        <a:lnTo>
                          <a:pt x="54" y="613"/>
                        </a:lnTo>
                        <a:lnTo>
                          <a:pt x="59" y="613"/>
                        </a:lnTo>
                        <a:lnTo>
                          <a:pt x="61" y="613"/>
                        </a:lnTo>
                        <a:lnTo>
                          <a:pt x="63" y="613"/>
                        </a:lnTo>
                        <a:lnTo>
                          <a:pt x="63" y="611"/>
                        </a:lnTo>
                        <a:lnTo>
                          <a:pt x="63" y="611"/>
                        </a:lnTo>
                        <a:lnTo>
                          <a:pt x="63" y="606"/>
                        </a:lnTo>
                        <a:lnTo>
                          <a:pt x="63" y="603"/>
                        </a:lnTo>
                        <a:lnTo>
                          <a:pt x="63" y="601"/>
                        </a:lnTo>
                        <a:lnTo>
                          <a:pt x="63" y="601"/>
                        </a:lnTo>
                        <a:lnTo>
                          <a:pt x="66" y="599"/>
                        </a:lnTo>
                        <a:lnTo>
                          <a:pt x="68" y="596"/>
                        </a:lnTo>
                        <a:lnTo>
                          <a:pt x="75" y="592"/>
                        </a:lnTo>
                        <a:lnTo>
                          <a:pt x="75" y="589"/>
                        </a:lnTo>
                        <a:lnTo>
                          <a:pt x="75" y="589"/>
                        </a:lnTo>
                        <a:lnTo>
                          <a:pt x="75" y="587"/>
                        </a:lnTo>
                        <a:lnTo>
                          <a:pt x="75" y="587"/>
                        </a:lnTo>
                        <a:lnTo>
                          <a:pt x="73" y="585"/>
                        </a:lnTo>
                        <a:lnTo>
                          <a:pt x="71" y="585"/>
                        </a:lnTo>
                        <a:lnTo>
                          <a:pt x="68" y="582"/>
                        </a:lnTo>
                        <a:lnTo>
                          <a:pt x="68" y="582"/>
                        </a:lnTo>
                        <a:lnTo>
                          <a:pt x="78" y="575"/>
                        </a:lnTo>
                        <a:lnTo>
                          <a:pt x="97" y="566"/>
                        </a:lnTo>
                        <a:lnTo>
                          <a:pt x="89" y="559"/>
                        </a:lnTo>
                        <a:lnTo>
                          <a:pt x="89" y="556"/>
                        </a:lnTo>
                        <a:lnTo>
                          <a:pt x="80" y="537"/>
                        </a:lnTo>
                        <a:lnTo>
                          <a:pt x="75" y="533"/>
                        </a:lnTo>
                        <a:lnTo>
                          <a:pt x="75" y="530"/>
                        </a:lnTo>
                        <a:lnTo>
                          <a:pt x="73" y="530"/>
                        </a:lnTo>
                        <a:lnTo>
                          <a:pt x="66" y="528"/>
                        </a:lnTo>
                        <a:lnTo>
                          <a:pt x="61" y="523"/>
                        </a:lnTo>
                        <a:lnTo>
                          <a:pt x="59" y="521"/>
                        </a:lnTo>
                        <a:lnTo>
                          <a:pt x="56" y="521"/>
                        </a:lnTo>
                        <a:lnTo>
                          <a:pt x="56" y="516"/>
                        </a:lnTo>
                        <a:lnTo>
                          <a:pt x="54" y="514"/>
                        </a:lnTo>
                        <a:lnTo>
                          <a:pt x="52" y="509"/>
                        </a:lnTo>
                        <a:lnTo>
                          <a:pt x="52" y="506"/>
                        </a:lnTo>
                        <a:lnTo>
                          <a:pt x="52" y="504"/>
                        </a:lnTo>
                        <a:lnTo>
                          <a:pt x="52" y="499"/>
                        </a:lnTo>
                        <a:lnTo>
                          <a:pt x="47" y="497"/>
                        </a:lnTo>
                        <a:lnTo>
                          <a:pt x="47" y="488"/>
                        </a:lnTo>
                        <a:lnTo>
                          <a:pt x="47" y="485"/>
                        </a:lnTo>
                        <a:lnTo>
                          <a:pt x="47" y="485"/>
                        </a:lnTo>
                        <a:lnTo>
                          <a:pt x="37" y="476"/>
                        </a:lnTo>
                        <a:lnTo>
                          <a:pt x="35" y="473"/>
                        </a:lnTo>
                        <a:lnTo>
                          <a:pt x="35" y="471"/>
                        </a:lnTo>
                        <a:lnTo>
                          <a:pt x="37" y="471"/>
                        </a:lnTo>
                        <a:lnTo>
                          <a:pt x="37" y="471"/>
                        </a:lnTo>
                        <a:lnTo>
                          <a:pt x="40" y="471"/>
                        </a:lnTo>
                        <a:lnTo>
                          <a:pt x="40" y="469"/>
                        </a:lnTo>
                        <a:lnTo>
                          <a:pt x="40" y="466"/>
                        </a:lnTo>
                        <a:lnTo>
                          <a:pt x="40" y="464"/>
                        </a:lnTo>
                        <a:lnTo>
                          <a:pt x="37" y="462"/>
                        </a:lnTo>
                        <a:lnTo>
                          <a:pt x="37" y="459"/>
                        </a:lnTo>
                        <a:lnTo>
                          <a:pt x="37" y="457"/>
                        </a:lnTo>
                        <a:lnTo>
                          <a:pt x="37" y="457"/>
                        </a:lnTo>
                        <a:lnTo>
                          <a:pt x="35" y="454"/>
                        </a:lnTo>
                        <a:lnTo>
                          <a:pt x="33" y="457"/>
                        </a:lnTo>
                        <a:lnTo>
                          <a:pt x="30" y="457"/>
                        </a:lnTo>
                        <a:lnTo>
                          <a:pt x="30" y="454"/>
                        </a:lnTo>
                        <a:lnTo>
                          <a:pt x="28" y="454"/>
                        </a:lnTo>
                        <a:lnTo>
                          <a:pt x="28" y="452"/>
                        </a:lnTo>
                        <a:lnTo>
                          <a:pt x="28" y="447"/>
                        </a:lnTo>
                        <a:lnTo>
                          <a:pt x="28" y="445"/>
                        </a:lnTo>
                        <a:lnTo>
                          <a:pt x="28" y="440"/>
                        </a:lnTo>
                        <a:lnTo>
                          <a:pt x="28" y="440"/>
                        </a:lnTo>
                        <a:lnTo>
                          <a:pt x="26" y="438"/>
                        </a:lnTo>
                        <a:lnTo>
                          <a:pt x="23" y="438"/>
                        </a:lnTo>
                        <a:lnTo>
                          <a:pt x="19" y="436"/>
                        </a:lnTo>
                        <a:lnTo>
                          <a:pt x="14" y="433"/>
                        </a:lnTo>
                        <a:lnTo>
                          <a:pt x="11" y="428"/>
                        </a:lnTo>
                        <a:lnTo>
                          <a:pt x="4" y="417"/>
                        </a:lnTo>
                        <a:lnTo>
                          <a:pt x="0" y="412"/>
                        </a:lnTo>
                        <a:lnTo>
                          <a:pt x="0" y="407"/>
                        </a:lnTo>
                        <a:lnTo>
                          <a:pt x="0" y="407"/>
                        </a:lnTo>
                        <a:lnTo>
                          <a:pt x="0" y="405"/>
                        </a:lnTo>
                        <a:lnTo>
                          <a:pt x="2" y="402"/>
                        </a:lnTo>
                        <a:lnTo>
                          <a:pt x="7" y="398"/>
                        </a:lnTo>
                        <a:lnTo>
                          <a:pt x="7" y="395"/>
                        </a:lnTo>
                        <a:lnTo>
                          <a:pt x="7" y="395"/>
                        </a:lnTo>
                        <a:lnTo>
                          <a:pt x="9" y="393"/>
                        </a:lnTo>
                        <a:lnTo>
                          <a:pt x="9" y="393"/>
                        </a:lnTo>
                        <a:lnTo>
                          <a:pt x="9" y="388"/>
                        </a:lnTo>
                        <a:lnTo>
                          <a:pt x="7" y="376"/>
                        </a:lnTo>
                        <a:lnTo>
                          <a:pt x="2" y="369"/>
                        </a:lnTo>
                        <a:lnTo>
                          <a:pt x="2" y="362"/>
                        </a:lnTo>
                        <a:lnTo>
                          <a:pt x="2" y="360"/>
                        </a:lnTo>
                        <a:lnTo>
                          <a:pt x="2" y="357"/>
                        </a:lnTo>
                        <a:lnTo>
                          <a:pt x="2" y="355"/>
                        </a:lnTo>
                        <a:lnTo>
                          <a:pt x="35" y="312"/>
                        </a:lnTo>
                        <a:lnTo>
                          <a:pt x="35" y="310"/>
                        </a:lnTo>
                        <a:lnTo>
                          <a:pt x="37" y="308"/>
                        </a:lnTo>
                        <a:lnTo>
                          <a:pt x="37" y="303"/>
                        </a:lnTo>
                        <a:lnTo>
                          <a:pt x="37" y="298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44" name="Freeform 49">
                    <a:extLst>
                      <a:ext uri="{FF2B5EF4-FFF2-40B4-BE49-F238E27FC236}">
                        <a16:creationId xmlns:a16="http://schemas.microsoft.com/office/drawing/2014/main" id="{85BD03E6-019F-4D3A-8120-B55283B8BD9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21928" y="1950361"/>
                    <a:ext cx="25335" cy="29936"/>
                  </a:xfrm>
                  <a:custGeom>
                    <a:avLst/>
                    <a:gdLst>
                      <a:gd name="T0" fmla="*/ 3 w 19"/>
                      <a:gd name="T1" fmla="*/ 9 h 23"/>
                      <a:gd name="T2" fmla="*/ 3 w 19"/>
                      <a:gd name="T3" fmla="*/ 9 h 23"/>
                      <a:gd name="T4" fmla="*/ 0 w 19"/>
                      <a:gd name="T5" fmla="*/ 7 h 23"/>
                      <a:gd name="T6" fmla="*/ 0 w 19"/>
                      <a:gd name="T7" fmla="*/ 4 h 23"/>
                      <a:gd name="T8" fmla="*/ 19 w 19"/>
                      <a:gd name="T9" fmla="*/ 0 h 23"/>
                      <a:gd name="T10" fmla="*/ 19 w 19"/>
                      <a:gd name="T11" fmla="*/ 9 h 23"/>
                      <a:gd name="T12" fmla="*/ 17 w 19"/>
                      <a:gd name="T13" fmla="*/ 16 h 23"/>
                      <a:gd name="T14" fmla="*/ 17 w 19"/>
                      <a:gd name="T15" fmla="*/ 21 h 23"/>
                      <a:gd name="T16" fmla="*/ 17 w 19"/>
                      <a:gd name="T17" fmla="*/ 23 h 23"/>
                      <a:gd name="T18" fmla="*/ 15 w 19"/>
                      <a:gd name="T19" fmla="*/ 23 h 23"/>
                      <a:gd name="T20" fmla="*/ 12 w 19"/>
                      <a:gd name="T21" fmla="*/ 23 h 23"/>
                      <a:gd name="T22" fmla="*/ 12 w 19"/>
                      <a:gd name="T23" fmla="*/ 23 h 23"/>
                      <a:gd name="T24" fmla="*/ 12 w 19"/>
                      <a:gd name="T25" fmla="*/ 23 h 23"/>
                      <a:gd name="T26" fmla="*/ 10 w 19"/>
                      <a:gd name="T27" fmla="*/ 21 h 23"/>
                      <a:gd name="T28" fmla="*/ 8 w 19"/>
                      <a:gd name="T29" fmla="*/ 19 h 23"/>
                      <a:gd name="T30" fmla="*/ 5 w 19"/>
                      <a:gd name="T31" fmla="*/ 16 h 23"/>
                      <a:gd name="T32" fmla="*/ 5 w 19"/>
                      <a:gd name="T33" fmla="*/ 14 h 23"/>
                      <a:gd name="T34" fmla="*/ 3 w 19"/>
                      <a:gd name="T35" fmla="*/ 12 h 23"/>
                      <a:gd name="T36" fmla="*/ 3 w 19"/>
                      <a:gd name="T37" fmla="*/ 9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9" h="23">
                        <a:moveTo>
                          <a:pt x="3" y="9"/>
                        </a:moveTo>
                        <a:lnTo>
                          <a:pt x="3" y="9"/>
                        </a:lnTo>
                        <a:lnTo>
                          <a:pt x="0" y="7"/>
                        </a:lnTo>
                        <a:lnTo>
                          <a:pt x="0" y="4"/>
                        </a:lnTo>
                        <a:lnTo>
                          <a:pt x="19" y="0"/>
                        </a:lnTo>
                        <a:lnTo>
                          <a:pt x="19" y="9"/>
                        </a:lnTo>
                        <a:lnTo>
                          <a:pt x="17" y="16"/>
                        </a:lnTo>
                        <a:lnTo>
                          <a:pt x="17" y="21"/>
                        </a:lnTo>
                        <a:lnTo>
                          <a:pt x="17" y="23"/>
                        </a:lnTo>
                        <a:lnTo>
                          <a:pt x="15" y="23"/>
                        </a:lnTo>
                        <a:lnTo>
                          <a:pt x="12" y="23"/>
                        </a:lnTo>
                        <a:lnTo>
                          <a:pt x="12" y="23"/>
                        </a:lnTo>
                        <a:lnTo>
                          <a:pt x="12" y="23"/>
                        </a:lnTo>
                        <a:lnTo>
                          <a:pt x="10" y="21"/>
                        </a:lnTo>
                        <a:lnTo>
                          <a:pt x="8" y="19"/>
                        </a:lnTo>
                        <a:lnTo>
                          <a:pt x="5" y="16"/>
                        </a:lnTo>
                        <a:lnTo>
                          <a:pt x="5" y="14"/>
                        </a:lnTo>
                        <a:lnTo>
                          <a:pt x="3" y="12"/>
                        </a:lnTo>
                        <a:lnTo>
                          <a:pt x="3" y="9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45" name="Freeform 50">
                    <a:extLst>
                      <a:ext uri="{FF2B5EF4-FFF2-40B4-BE49-F238E27FC236}">
                        <a16:creationId xmlns:a16="http://schemas.microsoft.com/office/drawing/2014/main" id="{F9499BF6-A857-4554-BBD5-3CA75F18549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21928" y="1950361"/>
                    <a:ext cx="25335" cy="29936"/>
                  </a:xfrm>
                  <a:custGeom>
                    <a:avLst/>
                    <a:gdLst>
                      <a:gd name="T0" fmla="*/ 3 w 19"/>
                      <a:gd name="T1" fmla="*/ 9 h 23"/>
                      <a:gd name="T2" fmla="*/ 3 w 19"/>
                      <a:gd name="T3" fmla="*/ 9 h 23"/>
                      <a:gd name="T4" fmla="*/ 0 w 19"/>
                      <a:gd name="T5" fmla="*/ 7 h 23"/>
                      <a:gd name="T6" fmla="*/ 0 w 19"/>
                      <a:gd name="T7" fmla="*/ 4 h 23"/>
                      <a:gd name="T8" fmla="*/ 19 w 19"/>
                      <a:gd name="T9" fmla="*/ 0 h 23"/>
                      <a:gd name="T10" fmla="*/ 19 w 19"/>
                      <a:gd name="T11" fmla="*/ 9 h 23"/>
                      <a:gd name="T12" fmla="*/ 17 w 19"/>
                      <a:gd name="T13" fmla="*/ 16 h 23"/>
                      <a:gd name="T14" fmla="*/ 17 w 19"/>
                      <a:gd name="T15" fmla="*/ 21 h 23"/>
                      <a:gd name="T16" fmla="*/ 17 w 19"/>
                      <a:gd name="T17" fmla="*/ 23 h 23"/>
                      <a:gd name="T18" fmla="*/ 15 w 19"/>
                      <a:gd name="T19" fmla="*/ 23 h 23"/>
                      <a:gd name="T20" fmla="*/ 12 w 19"/>
                      <a:gd name="T21" fmla="*/ 23 h 23"/>
                      <a:gd name="T22" fmla="*/ 12 w 19"/>
                      <a:gd name="T23" fmla="*/ 23 h 23"/>
                      <a:gd name="T24" fmla="*/ 12 w 19"/>
                      <a:gd name="T25" fmla="*/ 23 h 23"/>
                      <a:gd name="T26" fmla="*/ 10 w 19"/>
                      <a:gd name="T27" fmla="*/ 21 h 23"/>
                      <a:gd name="T28" fmla="*/ 8 w 19"/>
                      <a:gd name="T29" fmla="*/ 19 h 23"/>
                      <a:gd name="T30" fmla="*/ 5 w 19"/>
                      <a:gd name="T31" fmla="*/ 16 h 23"/>
                      <a:gd name="T32" fmla="*/ 5 w 19"/>
                      <a:gd name="T33" fmla="*/ 14 h 23"/>
                      <a:gd name="T34" fmla="*/ 3 w 19"/>
                      <a:gd name="T35" fmla="*/ 12 h 23"/>
                      <a:gd name="T36" fmla="*/ 3 w 19"/>
                      <a:gd name="T37" fmla="*/ 9 h 2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</a:cxnLst>
                    <a:rect l="0" t="0" r="r" b="b"/>
                    <a:pathLst>
                      <a:path w="19" h="23">
                        <a:moveTo>
                          <a:pt x="3" y="9"/>
                        </a:moveTo>
                        <a:lnTo>
                          <a:pt x="3" y="9"/>
                        </a:lnTo>
                        <a:lnTo>
                          <a:pt x="0" y="7"/>
                        </a:lnTo>
                        <a:lnTo>
                          <a:pt x="0" y="4"/>
                        </a:lnTo>
                        <a:lnTo>
                          <a:pt x="19" y="0"/>
                        </a:lnTo>
                        <a:lnTo>
                          <a:pt x="19" y="9"/>
                        </a:lnTo>
                        <a:lnTo>
                          <a:pt x="17" y="16"/>
                        </a:lnTo>
                        <a:lnTo>
                          <a:pt x="17" y="21"/>
                        </a:lnTo>
                        <a:lnTo>
                          <a:pt x="17" y="23"/>
                        </a:lnTo>
                        <a:lnTo>
                          <a:pt x="15" y="23"/>
                        </a:lnTo>
                        <a:lnTo>
                          <a:pt x="12" y="23"/>
                        </a:lnTo>
                        <a:lnTo>
                          <a:pt x="12" y="23"/>
                        </a:lnTo>
                        <a:lnTo>
                          <a:pt x="12" y="23"/>
                        </a:lnTo>
                        <a:lnTo>
                          <a:pt x="10" y="21"/>
                        </a:lnTo>
                        <a:lnTo>
                          <a:pt x="8" y="19"/>
                        </a:lnTo>
                        <a:lnTo>
                          <a:pt x="5" y="16"/>
                        </a:lnTo>
                        <a:lnTo>
                          <a:pt x="5" y="14"/>
                        </a:lnTo>
                        <a:lnTo>
                          <a:pt x="3" y="12"/>
                        </a:lnTo>
                        <a:lnTo>
                          <a:pt x="3" y="9"/>
                        </a:lnTo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  <a:extLst/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46" name="Freeform 51">
                    <a:extLst>
                      <a:ext uri="{FF2B5EF4-FFF2-40B4-BE49-F238E27FC236}">
                        <a16:creationId xmlns:a16="http://schemas.microsoft.com/office/drawing/2014/main" id="{12BC05E6-BB3B-48E9-97CD-DB465133A33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08109" y="1954966"/>
                    <a:ext cx="46062" cy="43753"/>
                  </a:xfrm>
                  <a:custGeom>
                    <a:avLst/>
                    <a:gdLst>
                      <a:gd name="T0" fmla="*/ 33 w 37"/>
                      <a:gd name="T1" fmla="*/ 27 h 34"/>
                      <a:gd name="T2" fmla="*/ 33 w 37"/>
                      <a:gd name="T3" fmla="*/ 27 h 34"/>
                      <a:gd name="T4" fmla="*/ 30 w 37"/>
                      <a:gd name="T5" fmla="*/ 29 h 34"/>
                      <a:gd name="T6" fmla="*/ 30 w 37"/>
                      <a:gd name="T7" fmla="*/ 31 h 34"/>
                      <a:gd name="T8" fmla="*/ 21 w 37"/>
                      <a:gd name="T9" fmla="*/ 34 h 34"/>
                      <a:gd name="T10" fmla="*/ 9 w 37"/>
                      <a:gd name="T11" fmla="*/ 22 h 34"/>
                      <a:gd name="T12" fmla="*/ 9 w 37"/>
                      <a:gd name="T13" fmla="*/ 22 h 34"/>
                      <a:gd name="T14" fmla="*/ 7 w 37"/>
                      <a:gd name="T15" fmla="*/ 17 h 34"/>
                      <a:gd name="T16" fmla="*/ 9 w 37"/>
                      <a:gd name="T17" fmla="*/ 12 h 34"/>
                      <a:gd name="T18" fmla="*/ 9 w 37"/>
                      <a:gd name="T19" fmla="*/ 10 h 34"/>
                      <a:gd name="T20" fmla="*/ 4 w 37"/>
                      <a:gd name="T21" fmla="*/ 10 h 34"/>
                      <a:gd name="T22" fmla="*/ 2 w 37"/>
                      <a:gd name="T23" fmla="*/ 8 h 34"/>
                      <a:gd name="T24" fmla="*/ 0 w 37"/>
                      <a:gd name="T25" fmla="*/ 5 h 34"/>
                      <a:gd name="T26" fmla="*/ 0 w 37"/>
                      <a:gd name="T27" fmla="*/ 3 h 34"/>
                      <a:gd name="T28" fmla="*/ 4 w 37"/>
                      <a:gd name="T29" fmla="*/ 3 h 34"/>
                      <a:gd name="T30" fmla="*/ 11 w 37"/>
                      <a:gd name="T31" fmla="*/ 0 h 34"/>
                      <a:gd name="T32" fmla="*/ 11 w 37"/>
                      <a:gd name="T33" fmla="*/ 3 h 34"/>
                      <a:gd name="T34" fmla="*/ 14 w 37"/>
                      <a:gd name="T35" fmla="*/ 5 h 34"/>
                      <a:gd name="T36" fmla="*/ 14 w 37"/>
                      <a:gd name="T37" fmla="*/ 8 h 34"/>
                      <a:gd name="T38" fmla="*/ 16 w 37"/>
                      <a:gd name="T39" fmla="*/ 10 h 34"/>
                      <a:gd name="T40" fmla="*/ 16 w 37"/>
                      <a:gd name="T41" fmla="*/ 12 h 34"/>
                      <a:gd name="T42" fmla="*/ 19 w 37"/>
                      <a:gd name="T43" fmla="*/ 15 h 34"/>
                      <a:gd name="T44" fmla="*/ 21 w 37"/>
                      <a:gd name="T45" fmla="*/ 17 h 34"/>
                      <a:gd name="T46" fmla="*/ 23 w 37"/>
                      <a:gd name="T47" fmla="*/ 19 h 34"/>
                      <a:gd name="T48" fmla="*/ 23 w 37"/>
                      <a:gd name="T49" fmla="*/ 19 h 34"/>
                      <a:gd name="T50" fmla="*/ 23 w 37"/>
                      <a:gd name="T51" fmla="*/ 19 h 34"/>
                      <a:gd name="T52" fmla="*/ 26 w 37"/>
                      <a:gd name="T53" fmla="*/ 19 h 34"/>
                      <a:gd name="T54" fmla="*/ 28 w 37"/>
                      <a:gd name="T55" fmla="*/ 19 h 34"/>
                      <a:gd name="T56" fmla="*/ 28 w 37"/>
                      <a:gd name="T57" fmla="*/ 17 h 34"/>
                      <a:gd name="T58" fmla="*/ 28 w 37"/>
                      <a:gd name="T59" fmla="*/ 12 h 34"/>
                      <a:gd name="T60" fmla="*/ 37 w 37"/>
                      <a:gd name="T61" fmla="*/ 12 h 34"/>
                      <a:gd name="T62" fmla="*/ 37 w 37"/>
                      <a:gd name="T63" fmla="*/ 15 h 34"/>
                      <a:gd name="T64" fmla="*/ 37 w 37"/>
                      <a:gd name="T65" fmla="*/ 15 h 34"/>
                      <a:gd name="T66" fmla="*/ 37 w 37"/>
                      <a:gd name="T67" fmla="*/ 17 h 34"/>
                      <a:gd name="T68" fmla="*/ 35 w 37"/>
                      <a:gd name="T69" fmla="*/ 22 h 34"/>
                      <a:gd name="T70" fmla="*/ 35 w 37"/>
                      <a:gd name="T71" fmla="*/ 24 h 34"/>
                      <a:gd name="T72" fmla="*/ 33 w 37"/>
                      <a:gd name="T73" fmla="*/ 24 h 34"/>
                      <a:gd name="T74" fmla="*/ 33 w 37"/>
                      <a:gd name="T75" fmla="*/ 27 h 34"/>
                      <a:gd name="T76" fmla="*/ 33 w 37"/>
                      <a:gd name="T77" fmla="*/ 27 h 34"/>
                      <a:gd name="T78" fmla="*/ 33 w 37"/>
                      <a:gd name="T79" fmla="*/ 27 h 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37" h="34">
                        <a:moveTo>
                          <a:pt x="33" y="27"/>
                        </a:moveTo>
                        <a:lnTo>
                          <a:pt x="33" y="27"/>
                        </a:lnTo>
                        <a:lnTo>
                          <a:pt x="30" y="29"/>
                        </a:lnTo>
                        <a:lnTo>
                          <a:pt x="30" y="31"/>
                        </a:lnTo>
                        <a:lnTo>
                          <a:pt x="21" y="34"/>
                        </a:lnTo>
                        <a:lnTo>
                          <a:pt x="9" y="22"/>
                        </a:lnTo>
                        <a:lnTo>
                          <a:pt x="9" y="22"/>
                        </a:lnTo>
                        <a:lnTo>
                          <a:pt x="7" y="17"/>
                        </a:lnTo>
                        <a:lnTo>
                          <a:pt x="9" y="12"/>
                        </a:lnTo>
                        <a:lnTo>
                          <a:pt x="9" y="10"/>
                        </a:lnTo>
                        <a:lnTo>
                          <a:pt x="4" y="10"/>
                        </a:lnTo>
                        <a:lnTo>
                          <a:pt x="2" y="8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4" y="3"/>
                        </a:lnTo>
                        <a:lnTo>
                          <a:pt x="11" y="0"/>
                        </a:lnTo>
                        <a:lnTo>
                          <a:pt x="11" y="3"/>
                        </a:lnTo>
                        <a:lnTo>
                          <a:pt x="14" y="5"/>
                        </a:lnTo>
                        <a:lnTo>
                          <a:pt x="14" y="8"/>
                        </a:lnTo>
                        <a:lnTo>
                          <a:pt x="16" y="10"/>
                        </a:lnTo>
                        <a:lnTo>
                          <a:pt x="16" y="12"/>
                        </a:lnTo>
                        <a:lnTo>
                          <a:pt x="19" y="15"/>
                        </a:lnTo>
                        <a:lnTo>
                          <a:pt x="21" y="17"/>
                        </a:lnTo>
                        <a:lnTo>
                          <a:pt x="23" y="19"/>
                        </a:lnTo>
                        <a:lnTo>
                          <a:pt x="23" y="19"/>
                        </a:lnTo>
                        <a:lnTo>
                          <a:pt x="23" y="19"/>
                        </a:lnTo>
                        <a:lnTo>
                          <a:pt x="26" y="19"/>
                        </a:lnTo>
                        <a:lnTo>
                          <a:pt x="28" y="19"/>
                        </a:lnTo>
                        <a:lnTo>
                          <a:pt x="28" y="17"/>
                        </a:lnTo>
                        <a:lnTo>
                          <a:pt x="28" y="12"/>
                        </a:lnTo>
                        <a:lnTo>
                          <a:pt x="37" y="12"/>
                        </a:lnTo>
                        <a:lnTo>
                          <a:pt x="37" y="15"/>
                        </a:lnTo>
                        <a:lnTo>
                          <a:pt x="37" y="15"/>
                        </a:lnTo>
                        <a:lnTo>
                          <a:pt x="37" y="17"/>
                        </a:lnTo>
                        <a:lnTo>
                          <a:pt x="35" y="22"/>
                        </a:lnTo>
                        <a:lnTo>
                          <a:pt x="35" y="24"/>
                        </a:lnTo>
                        <a:lnTo>
                          <a:pt x="33" y="24"/>
                        </a:lnTo>
                        <a:lnTo>
                          <a:pt x="33" y="27"/>
                        </a:lnTo>
                        <a:lnTo>
                          <a:pt x="33" y="27"/>
                        </a:lnTo>
                        <a:lnTo>
                          <a:pt x="33" y="27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47" name="Freeform 52">
                    <a:extLst>
                      <a:ext uri="{FF2B5EF4-FFF2-40B4-BE49-F238E27FC236}">
                        <a16:creationId xmlns:a16="http://schemas.microsoft.com/office/drawing/2014/main" id="{D535331C-686F-420E-A314-4743148AA27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6108109" y="1954966"/>
                    <a:ext cx="46062" cy="43753"/>
                  </a:xfrm>
                  <a:custGeom>
                    <a:avLst/>
                    <a:gdLst>
                      <a:gd name="T0" fmla="*/ 33 w 37"/>
                      <a:gd name="T1" fmla="*/ 27 h 34"/>
                      <a:gd name="T2" fmla="*/ 33 w 37"/>
                      <a:gd name="T3" fmla="*/ 27 h 34"/>
                      <a:gd name="T4" fmla="*/ 30 w 37"/>
                      <a:gd name="T5" fmla="*/ 29 h 34"/>
                      <a:gd name="T6" fmla="*/ 30 w 37"/>
                      <a:gd name="T7" fmla="*/ 31 h 34"/>
                      <a:gd name="T8" fmla="*/ 21 w 37"/>
                      <a:gd name="T9" fmla="*/ 34 h 34"/>
                      <a:gd name="T10" fmla="*/ 9 w 37"/>
                      <a:gd name="T11" fmla="*/ 22 h 34"/>
                      <a:gd name="T12" fmla="*/ 9 w 37"/>
                      <a:gd name="T13" fmla="*/ 22 h 34"/>
                      <a:gd name="T14" fmla="*/ 7 w 37"/>
                      <a:gd name="T15" fmla="*/ 17 h 34"/>
                      <a:gd name="T16" fmla="*/ 9 w 37"/>
                      <a:gd name="T17" fmla="*/ 12 h 34"/>
                      <a:gd name="T18" fmla="*/ 9 w 37"/>
                      <a:gd name="T19" fmla="*/ 10 h 34"/>
                      <a:gd name="T20" fmla="*/ 4 w 37"/>
                      <a:gd name="T21" fmla="*/ 10 h 34"/>
                      <a:gd name="T22" fmla="*/ 2 w 37"/>
                      <a:gd name="T23" fmla="*/ 8 h 34"/>
                      <a:gd name="T24" fmla="*/ 0 w 37"/>
                      <a:gd name="T25" fmla="*/ 5 h 34"/>
                      <a:gd name="T26" fmla="*/ 0 w 37"/>
                      <a:gd name="T27" fmla="*/ 3 h 34"/>
                      <a:gd name="T28" fmla="*/ 4 w 37"/>
                      <a:gd name="T29" fmla="*/ 3 h 34"/>
                      <a:gd name="T30" fmla="*/ 11 w 37"/>
                      <a:gd name="T31" fmla="*/ 0 h 34"/>
                      <a:gd name="T32" fmla="*/ 11 w 37"/>
                      <a:gd name="T33" fmla="*/ 3 h 34"/>
                      <a:gd name="T34" fmla="*/ 14 w 37"/>
                      <a:gd name="T35" fmla="*/ 5 h 34"/>
                      <a:gd name="T36" fmla="*/ 14 w 37"/>
                      <a:gd name="T37" fmla="*/ 8 h 34"/>
                      <a:gd name="T38" fmla="*/ 16 w 37"/>
                      <a:gd name="T39" fmla="*/ 10 h 34"/>
                      <a:gd name="T40" fmla="*/ 16 w 37"/>
                      <a:gd name="T41" fmla="*/ 12 h 34"/>
                      <a:gd name="T42" fmla="*/ 19 w 37"/>
                      <a:gd name="T43" fmla="*/ 15 h 34"/>
                      <a:gd name="T44" fmla="*/ 21 w 37"/>
                      <a:gd name="T45" fmla="*/ 17 h 34"/>
                      <a:gd name="T46" fmla="*/ 23 w 37"/>
                      <a:gd name="T47" fmla="*/ 19 h 34"/>
                      <a:gd name="T48" fmla="*/ 23 w 37"/>
                      <a:gd name="T49" fmla="*/ 19 h 34"/>
                      <a:gd name="T50" fmla="*/ 23 w 37"/>
                      <a:gd name="T51" fmla="*/ 19 h 34"/>
                      <a:gd name="T52" fmla="*/ 26 w 37"/>
                      <a:gd name="T53" fmla="*/ 19 h 34"/>
                      <a:gd name="T54" fmla="*/ 28 w 37"/>
                      <a:gd name="T55" fmla="*/ 19 h 34"/>
                      <a:gd name="T56" fmla="*/ 28 w 37"/>
                      <a:gd name="T57" fmla="*/ 17 h 34"/>
                      <a:gd name="T58" fmla="*/ 28 w 37"/>
                      <a:gd name="T59" fmla="*/ 12 h 34"/>
                      <a:gd name="T60" fmla="*/ 37 w 37"/>
                      <a:gd name="T61" fmla="*/ 12 h 34"/>
                      <a:gd name="T62" fmla="*/ 37 w 37"/>
                      <a:gd name="T63" fmla="*/ 15 h 34"/>
                      <a:gd name="T64" fmla="*/ 37 w 37"/>
                      <a:gd name="T65" fmla="*/ 15 h 34"/>
                      <a:gd name="T66" fmla="*/ 37 w 37"/>
                      <a:gd name="T67" fmla="*/ 17 h 34"/>
                      <a:gd name="T68" fmla="*/ 35 w 37"/>
                      <a:gd name="T69" fmla="*/ 22 h 34"/>
                      <a:gd name="T70" fmla="*/ 35 w 37"/>
                      <a:gd name="T71" fmla="*/ 24 h 34"/>
                      <a:gd name="T72" fmla="*/ 33 w 37"/>
                      <a:gd name="T73" fmla="*/ 24 h 34"/>
                      <a:gd name="T74" fmla="*/ 33 w 37"/>
                      <a:gd name="T75" fmla="*/ 27 h 34"/>
                      <a:gd name="T76" fmla="*/ 33 w 37"/>
                      <a:gd name="T77" fmla="*/ 27 h 34"/>
                      <a:gd name="T78" fmla="*/ 33 w 37"/>
                      <a:gd name="T79" fmla="*/ 27 h 3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</a:cxnLst>
                    <a:rect l="0" t="0" r="r" b="b"/>
                    <a:pathLst>
                      <a:path w="37" h="34">
                        <a:moveTo>
                          <a:pt x="33" y="27"/>
                        </a:moveTo>
                        <a:lnTo>
                          <a:pt x="33" y="27"/>
                        </a:lnTo>
                        <a:lnTo>
                          <a:pt x="30" y="29"/>
                        </a:lnTo>
                        <a:lnTo>
                          <a:pt x="30" y="31"/>
                        </a:lnTo>
                        <a:lnTo>
                          <a:pt x="21" y="34"/>
                        </a:lnTo>
                        <a:lnTo>
                          <a:pt x="9" y="22"/>
                        </a:lnTo>
                        <a:lnTo>
                          <a:pt x="9" y="22"/>
                        </a:lnTo>
                        <a:lnTo>
                          <a:pt x="7" y="17"/>
                        </a:lnTo>
                        <a:lnTo>
                          <a:pt x="9" y="12"/>
                        </a:lnTo>
                        <a:lnTo>
                          <a:pt x="9" y="10"/>
                        </a:lnTo>
                        <a:lnTo>
                          <a:pt x="4" y="10"/>
                        </a:lnTo>
                        <a:lnTo>
                          <a:pt x="2" y="8"/>
                        </a:lnTo>
                        <a:lnTo>
                          <a:pt x="0" y="5"/>
                        </a:lnTo>
                        <a:lnTo>
                          <a:pt x="0" y="3"/>
                        </a:lnTo>
                        <a:lnTo>
                          <a:pt x="4" y="3"/>
                        </a:lnTo>
                        <a:lnTo>
                          <a:pt x="11" y="0"/>
                        </a:lnTo>
                        <a:lnTo>
                          <a:pt x="11" y="3"/>
                        </a:lnTo>
                        <a:lnTo>
                          <a:pt x="14" y="5"/>
                        </a:lnTo>
                        <a:lnTo>
                          <a:pt x="14" y="8"/>
                        </a:lnTo>
                        <a:lnTo>
                          <a:pt x="16" y="10"/>
                        </a:lnTo>
                        <a:lnTo>
                          <a:pt x="16" y="12"/>
                        </a:lnTo>
                        <a:lnTo>
                          <a:pt x="19" y="15"/>
                        </a:lnTo>
                        <a:lnTo>
                          <a:pt x="21" y="17"/>
                        </a:lnTo>
                        <a:lnTo>
                          <a:pt x="23" y="19"/>
                        </a:lnTo>
                        <a:lnTo>
                          <a:pt x="23" y="19"/>
                        </a:lnTo>
                        <a:lnTo>
                          <a:pt x="23" y="19"/>
                        </a:lnTo>
                        <a:lnTo>
                          <a:pt x="26" y="19"/>
                        </a:lnTo>
                        <a:lnTo>
                          <a:pt x="28" y="19"/>
                        </a:lnTo>
                        <a:lnTo>
                          <a:pt x="28" y="17"/>
                        </a:lnTo>
                        <a:lnTo>
                          <a:pt x="28" y="12"/>
                        </a:lnTo>
                        <a:lnTo>
                          <a:pt x="37" y="12"/>
                        </a:lnTo>
                        <a:lnTo>
                          <a:pt x="37" y="15"/>
                        </a:lnTo>
                        <a:lnTo>
                          <a:pt x="37" y="15"/>
                        </a:lnTo>
                        <a:lnTo>
                          <a:pt x="37" y="17"/>
                        </a:lnTo>
                        <a:lnTo>
                          <a:pt x="35" y="22"/>
                        </a:lnTo>
                        <a:lnTo>
                          <a:pt x="35" y="24"/>
                        </a:lnTo>
                        <a:lnTo>
                          <a:pt x="33" y="24"/>
                        </a:lnTo>
                        <a:lnTo>
                          <a:pt x="33" y="27"/>
                        </a:lnTo>
                        <a:lnTo>
                          <a:pt x="33" y="27"/>
                        </a:lnTo>
                        <a:lnTo>
                          <a:pt x="33" y="27"/>
                        </a:lnTo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  <a:extLst/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48" name="Freeform 53">
                    <a:extLst>
                      <a:ext uri="{FF2B5EF4-FFF2-40B4-BE49-F238E27FC236}">
                        <a16:creationId xmlns:a16="http://schemas.microsoft.com/office/drawing/2014/main" id="{55295E59-ADD3-44F7-9E80-BD1CF069892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587610" y="1416124"/>
                    <a:ext cx="631048" cy="511209"/>
                  </a:xfrm>
                  <a:custGeom>
                    <a:avLst/>
                    <a:gdLst>
                      <a:gd name="T0" fmla="*/ 121 w 497"/>
                      <a:gd name="T1" fmla="*/ 11 h 402"/>
                      <a:gd name="T2" fmla="*/ 280 w 497"/>
                      <a:gd name="T3" fmla="*/ 4 h 402"/>
                      <a:gd name="T4" fmla="*/ 332 w 497"/>
                      <a:gd name="T5" fmla="*/ 4 h 402"/>
                      <a:gd name="T6" fmla="*/ 377 w 497"/>
                      <a:gd name="T7" fmla="*/ 16 h 402"/>
                      <a:gd name="T8" fmla="*/ 353 w 497"/>
                      <a:gd name="T9" fmla="*/ 45 h 402"/>
                      <a:gd name="T10" fmla="*/ 315 w 497"/>
                      <a:gd name="T11" fmla="*/ 90 h 402"/>
                      <a:gd name="T12" fmla="*/ 298 w 497"/>
                      <a:gd name="T13" fmla="*/ 125 h 402"/>
                      <a:gd name="T14" fmla="*/ 313 w 497"/>
                      <a:gd name="T15" fmla="*/ 151 h 402"/>
                      <a:gd name="T16" fmla="*/ 334 w 497"/>
                      <a:gd name="T17" fmla="*/ 146 h 402"/>
                      <a:gd name="T18" fmla="*/ 381 w 497"/>
                      <a:gd name="T19" fmla="*/ 153 h 402"/>
                      <a:gd name="T20" fmla="*/ 350 w 497"/>
                      <a:gd name="T21" fmla="*/ 224 h 402"/>
                      <a:gd name="T22" fmla="*/ 350 w 497"/>
                      <a:gd name="T23" fmla="*/ 241 h 402"/>
                      <a:gd name="T24" fmla="*/ 369 w 497"/>
                      <a:gd name="T25" fmla="*/ 248 h 402"/>
                      <a:gd name="T26" fmla="*/ 386 w 497"/>
                      <a:gd name="T27" fmla="*/ 305 h 402"/>
                      <a:gd name="T28" fmla="*/ 455 w 497"/>
                      <a:gd name="T29" fmla="*/ 331 h 402"/>
                      <a:gd name="T30" fmla="*/ 495 w 497"/>
                      <a:gd name="T31" fmla="*/ 378 h 402"/>
                      <a:gd name="T32" fmla="*/ 450 w 497"/>
                      <a:gd name="T33" fmla="*/ 388 h 402"/>
                      <a:gd name="T34" fmla="*/ 462 w 497"/>
                      <a:gd name="T35" fmla="*/ 376 h 402"/>
                      <a:gd name="T36" fmla="*/ 417 w 497"/>
                      <a:gd name="T37" fmla="*/ 328 h 402"/>
                      <a:gd name="T38" fmla="*/ 384 w 497"/>
                      <a:gd name="T39" fmla="*/ 345 h 402"/>
                      <a:gd name="T40" fmla="*/ 367 w 497"/>
                      <a:gd name="T41" fmla="*/ 362 h 402"/>
                      <a:gd name="T42" fmla="*/ 353 w 497"/>
                      <a:gd name="T43" fmla="*/ 371 h 402"/>
                      <a:gd name="T44" fmla="*/ 332 w 497"/>
                      <a:gd name="T45" fmla="*/ 355 h 402"/>
                      <a:gd name="T46" fmla="*/ 277 w 497"/>
                      <a:gd name="T47" fmla="*/ 350 h 402"/>
                      <a:gd name="T48" fmla="*/ 261 w 497"/>
                      <a:gd name="T49" fmla="*/ 355 h 402"/>
                      <a:gd name="T50" fmla="*/ 253 w 497"/>
                      <a:gd name="T51" fmla="*/ 371 h 402"/>
                      <a:gd name="T52" fmla="*/ 272 w 497"/>
                      <a:gd name="T53" fmla="*/ 385 h 402"/>
                      <a:gd name="T54" fmla="*/ 246 w 497"/>
                      <a:gd name="T55" fmla="*/ 376 h 402"/>
                      <a:gd name="T56" fmla="*/ 237 w 497"/>
                      <a:gd name="T57" fmla="*/ 364 h 402"/>
                      <a:gd name="T58" fmla="*/ 225 w 497"/>
                      <a:gd name="T59" fmla="*/ 345 h 402"/>
                      <a:gd name="T60" fmla="*/ 211 w 497"/>
                      <a:gd name="T61" fmla="*/ 333 h 402"/>
                      <a:gd name="T62" fmla="*/ 192 w 497"/>
                      <a:gd name="T63" fmla="*/ 338 h 402"/>
                      <a:gd name="T64" fmla="*/ 185 w 497"/>
                      <a:gd name="T65" fmla="*/ 331 h 402"/>
                      <a:gd name="T66" fmla="*/ 175 w 497"/>
                      <a:gd name="T67" fmla="*/ 340 h 402"/>
                      <a:gd name="T68" fmla="*/ 168 w 497"/>
                      <a:gd name="T69" fmla="*/ 340 h 402"/>
                      <a:gd name="T70" fmla="*/ 164 w 497"/>
                      <a:gd name="T71" fmla="*/ 333 h 402"/>
                      <a:gd name="T72" fmla="*/ 156 w 497"/>
                      <a:gd name="T73" fmla="*/ 340 h 402"/>
                      <a:gd name="T74" fmla="*/ 135 w 497"/>
                      <a:gd name="T75" fmla="*/ 359 h 402"/>
                      <a:gd name="T76" fmla="*/ 116 w 497"/>
                      <a:gd name="T77" fmla="*/ 347 h 402"/>
                      <a:gd name="T78" fmla="*/ 97 w 497"/>
                      <a:gd name="T79" fmla="*/ 350 h 402"/>
                      <a:gd name="T80" fmla="*/ 81 w 497"/>
                      <a:gd name="T81" fmla="*/ 319 h 402"/>
                      <a:gd name="T82" fmla="*/ 62 w 497"/>
                      <a:gd name="T83" fmla="*/ 307 h 402"/>
                      <a:gd name="T84" fmla="*/ 50 w 497"/>
                      <a:gd name="T85" fmla="*/ 288 h 402"/>
                      <a:gd name="T86" fmla="*/ 45 w 497"/>
                      <a:gd name="T87" fmla="*/ 253 h 402"/>
                      <a:gd name="T88" fmla="*/ 57 w 497"/>
                      <a:gd name="T89" fmla="*/ 243 h 402"/>
                      <a:gd name="T90" fmla="*/ 59 w 497"/>
                      <a:gd name="T91" fmla="*/ 229 h 402"/>
                      <a:gd name="T92" fmla="*/ 45 w 497"/>
                      <a:gd name="T93" fmla="*/ 210 h 402"/>
                      <a:gd name="T94" fmla="*/ 38 w 497"/>
                      <a:gd name="T95" fmla="*/ 198 h 402"/>
                      <a:gd name="T96" fmla="*/ 29 w 497"/>
                      <a:gd name="T97" fmla="*/ 194 h 402"/>
                      <a:gd name="T98" fmla="*/ 10 w 497"/>
                      <a:gd name="T99" fmla="*/ 187 h 402"/>
                      <a:gd name="T100" fmla="*/ 3 w 497"/>
                      <a:gd name="T101" fmla="*/ 172 h 402"/>
                      <a:gd name="T102" fmla="*/ 33 w 497"/>
                      <a:gd name="T103" fmla="*/ 134 h 402"/>
                      <a:gd name="T104" fmla="*/ 50 w 497"/>
                      <a:gd name="T105" fmla="*/ 90 h 402"/>
                      <a:gd name="T106" fmla="*/ 86 w 497"/>
                      <a:gd name="T107" fmla="*/ 82 h 402"/>
                      <a:gd name="T108" fmla="*/ 78 w 497"/>
                      <a:gd name="T109" fmla="*/ 73 h 402"/>
                      <a:gd name="T110" fmla="*/ 78 w 497"/>
                      <a:gd name="T111" fmla="*/ 59 h 402"/>
                      <a:gd name="T112" fmla="*/ 104 w 497"/>
                      <a:gd name="T113" fmla="*/ 45 h 4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497" h="402">
                        <a:moveTo>
                          <a:pt x="104" y="30"/>
                        </a:moveTo>
                        <a:lnTo>
                          <a:pt x="104" y="30"/>
                        </a:lnTo>
                        <a:lnTo>
                          <a:pt x="100" y="21"/>
                        </a:lnTo>
                        <a:lnTo>
                          <a:pt x="95" y="2"/>
                        </a:lnTo>
                        <a:lnTo>
                          <a:pt x="102" y="4"/>
                        </a:lnTo>
                        <a:lnTo>
                          <a:pt x="121" y="11"/>
                        </a:lnTo>
                        <a:lnTo>
                          <a:pt x="187" y="7"/>
                        </a:lnTo>
                        <a:lnTo>
                          <a:pt x="213" y="7"/>
                        </a:lnTo>
                        <a:lnTo>
                          <a:pt x="232" y="16"/>
                        </a:lnTo>
                        <a:lnTo>
                          <a:pt x="239" y="16"/>
                        </a:lnTo>
                        <a:lnTo>
                          <a:pt x="251" y="16"/>
                        </a:lnTo>
                        <a:lnTo>
                          <a:pt x="280" y="4"/>
                        </a:lnTo>
                        <a:lnTo>
                          <a:pt x="291" y="4"/>
                        </a:lnTo>
                        <a:lnTo>
                          <a:pt x="308" y="0"/>
                        </a:lnTo>
                        <a:lnTo>
                          <a:pt x="310" y="2"/>
                        </a:lnTo>
                        <a:lnTo>
                          <a:pt x="315" y="4"/>
                        </a:lnTo>
                        <a:lnTo>
                          <a:pt x="317" y="7"/>
                        </a:lnTo>
                        <a:lnTo>
                          <a:pt x="332" y="4"/>
                        </a:lnTo>
                        <a:lnTo>
                          <a:pt x="367" y="9"/>
                        </a:lnTo>
                        <a:lnTo>
                          <a:pt x="372" y="9"/>
                        </a:lnTo>
                        <a:lnTo>
                          <a:pt x="377" y="9"/>
                        </a:lnTo>
                        <a:lnTo>
                          <a:pt x="377" y="11"/>
                        </a:lnTo>
                        <a:lnTo>
                          <a:pt x="377" y="14"/>
                        </a:lnTo>
                        <a:lnTo>
                          <a:pt x="377" y="16"/>
                        </a:lnTo>
                        <a:lnTo>
                          <a:pt x="374" y="19"/>
                        </a:lnTo>
                        <a:lnTo>
                          <a:pt x="377" y="30"/>
                        </a:lnTo>
                        <a:lnTo>
                          <a:pt x="374" y="37"/>
                        </a:lnTo>
                        <a:lnTo>
                          <a:pt x="369" y="42"/>
                        </a:lnTo>
                        <a:lnTo>
                          <a:pt x="362" y="42"/>
                        </a:lnTo>
                        <a:lnTo>
                          <a:pt x="353" y="45"/>
                        </a:lnTo>
                        <a:lnTo>
                          <a:pt x="346" y="54"/>
                        </a:lnTo>
                        <a:lnTo>
                          <a:pt x="341" y="64"/>
                        </a:lnTo>
                        <a:lnTo>
                          <a:pt x="336" y="71"/>
                        </a:lnTo>
                        <a:lnTo>
                          <a:pt x="324" y="80"/>
                        </a:lnTo>
                        <a:lnTo>
                          <a:pt x="317" y="87"/>
                        </a:lnTo>
                        <a:lnTo>
                          <a:pt x="315" y="90"/>
                        </a:lnTo>
                        <a:lnTo>
                          <a:pt x="310" y="92"/>
                        </a:lnTo>
                        <a:lnTo>
                          <a:pt x="308" y="94"/>
                        </a:lnTo>
                        <a:lnTo>
                          <a:pt x="306" y="104"/>
                        </a:lnTo>
                        <a:lnTo>
                          <a:pt x="303" y="116"/>
                        </a:lnTo>
                        <a:lnTo>
                          <a:pt x="296" y="120"/>
                        </a:lnTo>
                        <a:lnTo>
                          <a:pt x="298" y="125"/>
                        </a:lnTo>
                        <a:lnTo>
                          <a:pt x="301" y="130"/>
                        </a:lnTo>
                        <a:lnTo>
                          <a:pt x="306" y="139"/>
                        </a:lnTo>
                        <a:lnTo>
                          <a:pt x="306" y="139"/>
                        </a:lnTo>
                        <a:lnTo>
                          <a:pt x="306" y="139"/>
                        </a:lnTo>
                        <a:lnTo>
                          <a:pt x="310" y="144"/>
                        </a:lnTo>
                        <a:lnTo>
                          <a:pt x="313" y="151"/>
                        </a:lnTo>
                        <a:lnTo>
                          <a:pt x="315" y="153"/>
                        </a:lnTo>
                        <a:lnTo>
                          <a:pt x="322" y="151"/>
                        </a:lnTo>
                        <a:lnTo>
                          <a:pt x="317" y="144"/>
                        </a:lnTo>
                        <a:lnTo>
                          <a:pt x="322" y="144"/>
                        </a:lnTo>
                        <a:lnTo>
                          <a:pt x="332" y="144"/>
                        </a:lnTo>
                        <a:lnTo>
                          <a:pt x="334" y="146"/>
                        </a:lnTo>
                        <a:lnTo>
                          <a:pt x="343" y="146"/>
                        </a:lnTo>
                        <a:lnTo>
                          <a:pt x="350" y="149"/>
                        </a:lnTo>
                        <a:lnTo>
                          <a:pt x="360" y="156"/>
                        </a:lnTo>
                        <a:lnTo>
                          <a:pt x="367" y="156"/>
                        </a:lnTo>
                        <a:lnTo>
                          <a:pt x="377" y="153"/>
                        </a:lnTo>
                        <a:lnTo>
                          <a:pt x="381" y="153"/>
                        </a:lnTo>
                        <a:lnTo>
                          <a:pt x="386" y="161"/>
                        </a:lnTo>
                        <a:lnTo>
                          <a:pt x="381" y="177"/>
                        </a:lnTo>
                        <a:lnTo>
                          <a:pt x="353" y="208"/>
                        </a:lnTo>
                        <a:lnTo>
                          <a:pt x="348" y="220"/>
                        </a:lnTo>
                        <a:lnTo>
                          <a:pt x="350" y="220"/>
                        </a:lnTo>
                        <a:lnTo>
                          <a:pt x="350" y="224"/>
                        </a:lnTo>
                        <a:lnTo>
                          <a:pt x="350" y="227"/>
                        </a:lnTo>
                        <a:lnTo>
                          <a:pt x="350" y="229"/>
                        </a:lnTo>
                        <a:lnTo>
                          <a:pt x="348" y="231"/>
                        </a:lnTo>
                        <a:lnTo>
                          <a:pt x="343" y="236"/>
                        </a:lnTo>
                        <a:lnTo>
                          <a:pt x="348" y="239"/>
                        </a:lnTo>
                        <a:lnTo>
                          <a:pt x="350" y="241"/>
                        </a:lnTo>
                        <a:lnTo>
                          <a:pt x="350" y="241"/>
                        </a:lnTo>
                        <a:lnTo>
                          <a:pt x="350" y="241"/>
                        </a:lnTo>
                        <a:lnTo>
                          <a:pt x="350" y="241"/>
                        </a:lnTo>
                        <a:lnTo>
                          <a:pt x="350" y="241"/>
                        </a:lnTo>
                        <a:lnTo>
                          <a:pt x="360" y="250"/>
                        </a:lnTo>
                        <a:lnTo>
                          <a:pt x="369" y="248"/>
                        </a:lnTo>
                        <a:lnTo>
                          <a:pt x="379" y="241"/>
                        </a:lnTo>
                        <a:lnTo>
                          <a:pt x="388" y="239"/>
                        </a:lnTo>
                        <a:lnTo>
                          <a:pt x="393" y="246"/>
                        </a:lnTo>
                        <a:lnTo>
                          <a:pt x="393" y="262"/>
                        </a:lnTo>
                        <a:lnTo>
                          <a:pt x="386" y="291"/>
                        </a:lnTo>
                        <a:lnTo>
                          <a:pt x="386" y="305"/>
                        </a:lnTo>
                        <a:lnTo>
                          <a:pt x="393" y="312"/>
                        </a:lnTo>
                        <a:lnTo>
                          <a:pt x="403" y="317"/>
                        </a:lnTo>
                        <a:lnTo>
                          <a:pt x="412" y="317"/>
                        </a:lnTo>
                        <a:lnTo>
                          <a:pt x="417" y="317"/>
                        </a:lnTo>
                        <a:lnTo>
                          <a:pt x="433" y="326"/>
                        </a:lnTo>
                        <a:lnTo>
                          <a:pt x="455" y="331"/>
                        </a:lnTo>
                        <a:lnTo>
                          <a:pt x="485" y="366"/>
                        </a:lnTo>
                        <a:lnTo>
                          <a:pt x="488" y="369"/>
                        </a:lnTo>
                        <a:lnTo>
                          <a:pt x="492" y="371"/>
                        </a:lnTo>
                        <a:lnTo>
                          <a:pt x="497" y="371"/>
                        </a:lnTo>
                        <a:lnTo>
                          <a:pt x="497" y="371"/>
                        </a:lnTo>
                        <a:lnTo>
                          <a:pt x="495" y="378"/>
                        </a:lnTo>
                        <a:lnTo>
                          <a:pt x="488" y="395"/>
                        </a:lnTo>
                        <a:lnTo>
                          <a:pt x="474" y="397"/>
                        </a:lnTo>
                        <a:lnTo>
                          <a:pt x="462" y="395"/>
                        </a:lnTo>
                        <a:lnTo>
                          <a:pt x="447" y="397"/>
                        </a:lnTo>
                        <a:lnTo>
                          <a:pt x="447" y="395"/>
                        </a:lnTo>
                        <a:lnTo>
                          <a:pt x="450" y="388"/>
                        </a:lnTo>
                        <a:lnTo>
                          <a:pt x="459" y="388"/>
                        </a:lnTo>
                        <a:lnTo>
                          <a:pt x="466" y="385"/>
                        </a:lnTo>
                        <a:lnTo>
                          <a:pt x="474" y="383"/>
                        </a:lnTo>
                        <a:lnTo>
                          <a:pt x="469" y="383"/>
                        </a:lnTo>
                        <a:lnTo>
                          <a:pt x="466" y="381"/>
                        </a:lnTo>
                        <a:lnTo>
                          <a:pt x="462" y="376"/>
                        </a:lnTo>
                        <a:lnTo>
                          <a:pt x="450" y="373"/>
                        </a:lnTo>
                        <a:lnTo>
                          <a:pt x="455" y="369"/>
                        </a:lnTo>
                        <a:lnTo>
                          <a:pt x="452" y="362"/>
                        </a:lnTo>
                        <a:lnTo>
                          <a:pt x="447" y="355"/>
                        </a:lnTo>
                        <a:lnTo>
                          <a:pt x="443" y="350"/>
                        </a:lnTo>
                        <a:lnTo>
                          <a:pt x="417" y="328"/>
                        </a:lnTo>
                        <a:lnTo>
                          <a:pt x="410" y="326"/>
                        </a:lnTo>
                        <a:lnTo>
                          <a:pt x="393" y="321"/>
                        </a:lnTo>
                        <a:lnTo>
                          <a:pt x="386" y="321"/>
                        </a:lnTo>
                        <a:lnTo>
                          <a:pt x="381" y="326"/>
                        </a:lnTo>
                        <a:lnTo>
                          <a:pt x="381" y="336"/>
                        </a:lnTo>
                        <a:lnTo>
                          <a:pt x="384" y="345"/>
                        </a:lnTo>
                        <a:lnTo>
                          <a:pt x="391" y="345"/>
                        </a:lnTo>
                        <a:lnTo>
                          <a:pt x="381" y="352"/>
                        </a:lnTo>
                        <a:lnTo>
                          <a:pt x="379" y="355"/>
                        </a:lnTo>
                        <a:lnTo>
                          <a:pt x="379" y="357"/>
                        </a:lnTo>
                        <a:lnTo>
                          <a:pt x="372" y="359"/>
                        </a:lnTo>
                        <a:lnTo>
                          <a:pt x="367" y="362"/>
                        </a:lnTo>
                        <a:lnTo>
                          <a:pt x="365" y="369"/>
                        </a:lnTo>
                        <a:lnTo>
                          <a:pt x="358" y="373"/>
                        </a:lnTo>
                        <a:lnTo>
                          <a:pt x="350" y="378"/>
                        </a:lnTo>
                        <a:lnTo>
                          <a:pt x="343" y="376"/>
                        </a:lnTo>
                        <a:lnTo>
                          <a:pt x="346" y="373"/>
                        </a:lnTo>
                        <a:lnTo>
                          <a:pt x="353" y="371"/>
                        </a:lnTo>
                        <a:lnTo>
                          <a:pt x="355" y="366"/>
                        </a:lnTo>
                        <a:lnTo>
                          <a:pt x="358" y="364"/>
                        </a:lnTo>
                        <a:lnTo>
                          <a:pt x="353" y="357"/>
                        </a:lnTo>
                        <a:lnTo>
                          <a:pt x="341" y="357"/>
                        </a:lnTo>
                        <a:lnTo>
                          <a:pt x="336" y="350"/>
                        </a:lnTo>
                        <a:lnTo>
                          <a:pt x="332" y="355"/>
                        </a:lnTo>
                        <a:lnTo>
                          <a:pt x="303" y="352"/>
                        </a:lnTo>
                        <a:lnTo>
                          <a:pt x="298" y="350"/>
                        </a:lnTo>
                        <a:lnTo>
                          <a:pt x="291" y="345"/>
                        </a:lnTo>
                        <a:lnTo>
                          <a:pt x="289" y="343"/>
                        </a:lnTo>
                        <a:lnTo>
                          <a:pt x="287" y="345"/>
                        </a:lnTo>
                        <a:lnTo>
                          <a:pt x="277" y="350"/>
                        </a:lnTo>
                        <a:lnTo>
                          <a:pt x="275" y="357"/>
                        </a:lnTo>
                        <a:lnTo>
                          <a:pt x="272" y="359"/>
                        </a:lnTo>
                        <a:lnTo>
                          <a:pt x="270" y="357"/>
                        </a:lnTo>
                        <a:lnTo>
                          <a:pt x="265" y="352"/>
                        </a:lnTo>
                        <a:lnTo>
                          <a:pt x="263" y="352"/>
                        </a:lnTo>
                        <a:lnTo>
                          <a:pt x="261" y="355"/>
                        </a:lnTo>
                        <a:lnTo>
                          <a:pt x="261" y="357"/>
                        </a:lnTo>
                        <a:lnTo>
                          <a:pt x="261" y="362"/>
                        </a:lnTo>
                        <a:lnTo>
                          <a:pt x="265" y="362"/>
                        </a:lnTo>
                        <a:lnTo>
                          <a:pt x="265" y="366"/>
                        </a:lnTo>
                        <a:lnTo>
                          <a:pt x="258" y="366"/>
                        </a:lnTo>
                        <a:lnTo>
                          <a:pt x="253" y="371"/>
                        </a:lnTo>
                        <a:lnTo>
                          <a:pt x="251" y="378"/>
                        </a:lnTo>
                        <a:lnTo>
                          <a:pt x="253" y="385"/>
                        </a:lnTo>
                        <a:lnTo>
                          <a:pt x="261" y="388"/>
                        </a:lnTo>
                        <a:lnTo>
                          <a:pt x="265" y="385"/>
                        </a:lnTo>
                        <a:lnTo>
                          <a:pt x="275" y="378"/>
                        </a:lnTo>
                        <a:lnTo>
                          <a:pt x="272" y="385"/>
                        </a:lnTo>
                        <a:lnTo>
                          <a:pt x="265" y="395"/>
                        </a:lnTo>
                        <a:lnTo>
                          <a:pt x="263" y="402"/>
                        </a:lnTo>
                        <a:lnTo>
                          <a:pt x="263" y="402"/>
                        </a:lnTo>
                        <a:lnTo>
                          <a:pt x="258" y="397"/>
                        </a:lnTo>
                        <a:lnTo>
                          <a:pt x="256" y="395"/>
                        </a:lnTo>
                        <a:lnTo>
                          <a:pt x="246" y="376"/>
                        </a:lnTo>
                        <a:lnTo>
                          <a:pt x="244" y="376"/>
                        </a:lnTo>
                        <a:lnTo>
                          <a:pt x="242" y="371"/>
                        </a:lnTo>
                        <a:lnTo>
                          <a:pt x="239" y="369"/>
                        </a:lnTo>
                        <a:lnTo>
                          <a:pt x="237" y="369"/>
                        </a:lnTo>
                        <a:lnTo>
                          <a:pt x="237" y="364"/>
                        </a:lnTo>
                        <a:lnTo>
                          <a:pt x="237" y="364"/>
                        </a:lnTo>
                        <a:lnTo>
                          <a:pt x="237" y="364"/>
                        </a:lnTo>
                        <a:lnTo>
                          <a:pt x="235" y="362"/>
                        </a:lnTo>
                        <a:lnTo>
                          <a:pt x="227" y="352"/>
                        </a:lnTo>
                        <a:lnTo>
                          <a:pt x="227" y="352"/>
                        </a:lnTo>
                        <a:lnTo>
                          <a:pt x="225" y="350"/>
                        </a:lnTo>
                        <a:lnTo>
                          <a:pt x="225" y="345"/>
                        </a:lnTo>
                        <a:lnTo>
                          <a:pt x="223" y="340"/>
                        </a:lnTo>
                        <a:lnTo>
                          <a:pt x="223" y="336"/>
                        </a:lnTo>
                        <a:lnTo>
                          <a:pt x="223" y="336"/>
                        </a:lnTo>
                        <a:lnTo>
                          <a:pt x="220" y="331"/>
                        </a:lnTo>
                        <a:lnTo>
                          <a:pt x="216" y="328"/>
                        </a:lnTo>
                        <a:lnTo>
                          <a:pt x="211" y="333"/>
                        </a:lnTo>
                        <a:lnTo>
                          <a:pt x="211" y="338"/>
                        </a:lnTo>
                        <a:lnTo>
                          <a:pt x="211" y="338"/>
                        </a:lnTo>
                        <a:lnTo>
                          <a:pt x="209" y="340"/>
                        </a:lnTo>
                        <a:lnTo>
                          <a:pt x="206" y="340"/>
                        </a:lnTo>
                        <a:lnTo>
                          <a:pt x="192" y="340"/>
                        </a:lnTo>
                        <a:lnTo>
                          <a:pt x="192" y="338"/>
                        </a:lnTo>
                        <a:lnTo>
                          <a:pt x="190" y="338"/>
                        </a:lnTo>
                        <a:lnTo>
                          <a:pt x="190" y="336"/>
                        </a:lnTo>
                        <a:lnTo>
                          <a:pt x="190" y="333"/>
                        </a:lnTo>
                        <a:lnTo>
                          <a:pt x="190" y="333"/>
                        </a:lnTo>
                        <a:lnTo>
                          <a:pt x="187" y="333"/>
                        </a:lnTo>
                        <a:lnTo>
                          <a:pt x="185" y="331"/>
                        </a:lnTo>
                        <a:lnTo>
                          <a:pt x="185" y="331"/>
                        </a:lnTo>
                        <a:lnTo>
                          <a:pt x="183" y="331"/>
                        </a:lnTo>
                        <a:lnTo>
                          <a:pt x="180" y="333"/>
                        </a:lnTo>
                        <a:lnTo>
                          <a:pt x="178" y="336"/>
                        </a:lnTo>
                        <a:lnTo>
                          <a:pt x="178" y="338"/>
                        </a:lnTo>
                        <a:lnTo>
                          <a:pt x="175" y="340"/>
                        </a:lnTo>
                        <a:lnTo>
                          <a:pt x="175" y="343"/>
                        </a:lnTo>
                        <a:lnTo>
                          <a:pt x="175" y="343"/>
                        </a:lnTo>
                        <a:lnTo>
                          <a:pt x="173" y="343"/>
                        </a:lnTo>
                        <a:lnTo>
                          <a:pt x="171" y="343"/>
                        </a:lnTo>
                        <a:lnTo>
                          <a:pt x="171" y="340"/>
                        </a:lnTo>
                        <a:lnTo>
                          <a:pt x="168" y="340"/>
                        </a:lnTo>
                        <a:lnTo>
                          <a:pt x="168" y="338"/>
                        </a:lnTo>
                        <a:lnTo>
                          <a:pt x="168" y="336"/>
                        </a:lnTo>
                        <a:lnTo>
                          <a:pt x="168" y="336"/>
                        </a:lnTo>
                        <a:lnTo>
                          <a:pt x="168" y="333"/>
                        </a:lnTo>
                        <a:lnTo>
                          <a:pt x="166" y="333"/>
                        </a:lnTo>
                        <a:lnTo>
                          <a:pt x="164" y="333"/>
                        </a:lnTo>
                        <a:lnTo>
                          <a:pt x="161" y="331"/>
                        </a:lnTo>
                        <a:lnTo>
                          <a:pt x="159" y="331"/>
                        </a:lnTo>
                        <a:lnTo>
                          <a:pt x="159" y="333"/>
                        </a:lnTo>
                        <a:lnTo>
                          <a:pt x="159" y="336"/>
                        </a:lnTo>
                        <a:lnTo>
                          <a:pt x="156" y="338"/>
                        </a:lnTo>
                        <a:lnTo>
                          <a:pt x="156" y="340"/>
                        </a:lnTo>
                        <a:lnTo>
                          <a:pt x="154" y="340"/>
                        </a:lnTo>
                        <a:lnTo>
                          <a:pt x="149" y="343"/>
                        </a:lnTo>
                        <a:lnTo>
                          <a:pt x="147" y="345"/>
                        </a:lnTo>
                        <a:lnTo>
                          <a:pt x="145" y="347"/>
                        </a:lnTo>
                        <a:lnTo>
                          <a:pt x="138" y="357"/>
                        </a:lnTo>
                        <a:lnTo>
                          <a:pt x="135" y="359"/>
                        </a:lnTo>
                        <a:lnTo>
                          <a:pt x="130" y="359"/>
                        </a:lnTo>
                        <a:lnTo>
                          <a:pt x="128" y="355"/>
                        </a:lnTo>
                        <a:lnTo>
                          <a:pt x="126" y="352"/>
                        </a:lnTo>
                        <a:lnTo>
                          <a:pt x="121" y="350"/>
                        </a:lnTo>
                        <a:lnTo>
                          <a:pt x="119" y="347"/>
                        </a:lnTo>
                        <a:lnTo>
                          <a:pt x="116" y="347"/>
                        </a:lnTo>
                        <a:lnTo>
                          <a:pt x="116" y="350"/>
                        </a:lnTo>
                        <a:lnTo>
                          <a:pt x="114" y="350"/>
                        </a:lnTo>
                        <a:lnTo>
                          <a:pt x="112" y="352"/>
                        </a:lnTo>
                        <a:lnTo>
                          <a:pt x="109" y="352"/>
                        </a:lnTo>
                        <a:lnTo>
                          <a:pt x="109" y="352"/>
                        </a:lnTo>
                        <a:lnTo>
                          <a:pt x="97" y="350"/>
                        </a:lnTo>
                        <a:lnTo>
                          <a:pt x="95" y="347"/>
                        </a:lnTo>
                        <a:lnTo>
                          <a:pt x="95" y="345"/>
                        </a:lnTo>
                        <a:lnTo>
                          <a:pt x="93" y="343"/>
                        </a:lnTo>
                        <a:lnTo>
                          <a:pt x="83" y="324"/>
                        </a:lnTo>
                        <a:lnTo>
                          <a:pt x="81" y="319"/>
                        </a:lnTo>
                        <a:lnTo>
                          <a:pt x="81" y="319"/>
                        </a:lnTo>
                        <a:lnTo>
                          <a:pt x="81" y="317"/>
                        </a:lnTo>
                        <a:lnTo>
                          <a:pt x="78" y="314"/>
                        </a:lnTo>
                        <a:lnTo>
                          <a:pt x="76" y="314"/>
                        </a:lnTo>
                        <a:lnTo>
                          <a:pt x="71" y="312"/>
                        </a:lnTo>
                        <a:lnTo>
                          <a:pt x="69" y="312"/>
                        </a:lnTo>
                        <a:lnTo>
                          <a:pt x="62" y="307"/>
                        </a:lnTo>
                        <a:lnTo>
                          <a:pt x="59" y="305"/>
                        </a:lnTo>
                        <a:lnTo>
                          <a:pt x="59" y="305"/>
                        </a:lnTo>
                        <a:lnTo>
                          <a:pt x="57" y="305"/>
                        </a:lnTo>
                        <a:lnTo>
                          <a:pt x="55" y="302"/>
                        </a:lnTo>
                        <a:lnTo>
                          <a:pt x="52" y="300"/>
                        </a:lnTo>
                        <a:lnTo>
                          <a:pt x="50" y="288"/>
                        </a:lnTo>
                        <a:lnTo>
                          <a:pt x="48" y="279"/>
                        </a:lnTo>
                        <a:lnTo>
                          <a:pt x="41" y="267"/>
                        </a:lnTo>
                        <a:lnTo>
                          <a:pt x="43" y="260"/>
                        </a:lnTo>
                        <a:lnTo>
                          <a:pt x="43" y="258"/>
                        </a:lnTo>
                        <a:lnTo>
                          <a:pt x="43" y="255"/>
                        </a:lnTo>
                        <a:lnTo>
                          <a:pt x="45" y="253"/>
                        </a:lnTo>
                        <a:lnTo>
                          <a:pt x="45" y="250"/>
                        </a:lnTo>
                        <a:lnTo>
                          <a:pt x="45" y="250"/>
                        </a:lnTo>
                        <a:lnTo>
                          <a:pt x="48" y="250"/>
                        </a:lnTo>
                        <a:lnTo>
                          <a:pt x="48" y="248"/>
                        </a:lnTo>
                        <a:lnTo>
                          <a:pt x="55" y="246"/>
                        </a:lnTo>
                        <a:lnTo>
                          <a:pt x="57" y="243"/>
                        </a:lnTo>
                        <a:lnTo>
                          <a:pt x="59" y="241"/>
                        </a:lnTo>
                        <a:lnTo>
                          <a:pt x="59" y="241"/>
                        </a:lnTo>
                        <a:lnTo>
                          <a:pt x="59" y="239"/>
                        </a:lnTo>
                        <a:lnTo>
                          <a:pt x="59" y="236"/>
                        </a:lnTo>
                        <a:lnTo>
                          <a:pt x="59" y="234"/>
                        </a:lnTo>
                        <a:lnTo>
                          <a:pt x="59" y="229"/>
                        </a:lnTo>
                        <a:lnTo>
                          <a:pt x="57" y="222"/>
                        </a:lnTo>
                        <a:lnTo>
                          <a:pt x="55" y="220"/>
                        </a:lnTo>
                        <a:lnTo>
                          <a:pt x="52" y="217"/>
                        </a:lnTo>
                        <a:lnTo>
                          <a:pt x="48" y="213"/>
                        </a:lnTo>
                        <a:lnTo>
                          <a:pt x="45" y="210"/>
                        </a:lnTo>
                        <a:lnTo>
                          <a:pt x="45" y="210"/>
                        </a:lnTo>
                        <a:lnTo>
                          <a:pt x="43" y="210"/>
                        </a:lnTo>
                        <a:lnTo>
                          <a:pt x="43" y="208"/>
                        </a:lnTo>
                        <a:lnTo>
                          <a:pt x="41" y="201"/>
                        </a:lnTo>
                        <a:lnTo>
                          <a:pt x="41" y="198"/>
                        </a:lnTo>
                        <a:lnTo>
                          <a:pt x="38" y="198"/>
                        </a:lnTo>
                        <a:lnTo>
                          <a:pt x="38" y="198"/>
                        </a:lnTo>
                        <a:lnTo>
                          <a:pt x="33" y="198"/>
                        </a:lnTo>
                        <a:lnTo>
                          <a:pt x="33" y="198"/>
                        </a:lnTo>
                        <a:lnTo>
                          <a:pt x="31" y="196"/>
                        </a:lnTo>
                        <a:lnTo>
                          <a:pt x="31" y="196"/>
                        </a:lnTo>
                        <a:lnTo>
                          <a:pt x="31" y="194"/>
                        </a:lnTo>
                        <a:lnTo>
                          <a:pt x="29" y="194"/>
                        </a:lnTo>
                        <a:lnTo>
                          <a:pt x="29" y="191"/>
                        </a:lnTo>
                        <a:lnTo>
                          <a:pt x="26" y="191"/>
                        </a:lnTo>
                        <a:lnTo>
                          <a:pt x="22" y="194"/>
                        </a:lnTo>
                        <a:lnTo>
                          <a:pt x="19" y="194"/>
                        </a:lnTo>
                        <a:lnTo>
                          <a:pt x="17" y="191"/>
                        </a:lnTo>
                        <a:lnTo>
                          <a:pt x="10" y="187"/>
                        </a:lnTo>
                        <a:lnTo>
                          <a:pt x="5" y="182"/>
                        </a:lnTo>
                        <a:lnTo>
                          <a:pt x="3" y="182"/>
                        </a:lnTo>
                        <a:lnTo>
                          <a:pt x="3" y="179"/>
                        </a:lnTo>
                        <a:lnTo>
                          <a:pt x="0" y="177"/>
                        </a:lnTo>
                        <a:lnTo>
                          <a:pt x="3" y="175"/>
                        </a:lnTo>
                        <a:lnTo>
                          <a:pt x="3" y="172"/>
                        </a:lnTo>
                        <a:lnTo>
                          <a:pt x="7" y="165"/>
                        </a:lnTo>
                        <a:lnTo>
                          <a:pt x="10" y="161"/>
                        </a:lnTo>
                        <a:lnTo>
                          <a:pt x="12" y="156"/>
                        </a:lnTo>
                        <a:lnTo>
                          <a:pt x="26" y="146"/>
                        </a:lnTo>
                        <a:lnTo>
                          <a:pt x="29" y="144"/>
                        </a:lnTo>
                        <a:lnTo>
                          <a:pt x="33" y="134"/>
                        </a:lnTo>
                        <a:lnTo>
                          <a:pt x="41" y="116"/>
                        </a:lnTo>
                        <a:lnTo>
                          <a:pt x="41" y="106"/>
                        </a:lnTo>
                        <a:lnTo>
                          <a:pt x="43" y="97"/>
                        </a:lnTo>
                        <a:lnTo>
                          <a:pt x="43" y="94"/>
                        </a:lnTo>
                        <a:lnTo>
                          <a:pt x="45" y="94"/>
                        </a:lnTo>
                        <a:lnTo>
                          <a:pt x="50" y="90"/>
                        </a:lnTo>
                        <a:lnTo>
                          <a:pt x="62" y="85"/>
                        </a:lnTo>
                        <a:lnTo>
                          <a:pt x="76" y="82"/>
                        </a:lnTo>
                        <a:lnTo>
                          <a:pt x="78" y="82"/>
                        </a:lnTo>
                        <a:lnTo>
                          <a:pt x="83" y="82"/>
                        </a:lnTo>
                        <a:lnTo>
                          <a:pt x="83" y="82"/>
                        </a:lnTo>
                        <a:lnTo>
                          <a:pt x="86" y="82"/>
                        </a:lnTo>
                        <a:lnTo>
                          <a:pt x="86" y="80"/>
                        </a:lnTo>
                        <a:lnTo>
                          <a:pt x="86" y="78"/>
                        </a:lnTo>
                        <a:lnTo>
                          <a:pt x="83" y="75"/>
                        </a:lnTo>
                        <a:lnTo>
                          <a:pt x="83" y="73"/>
                        </a:lnTo>
                        <a:lnTo>
                          <a:pt x="81" y="73"/>
                        </a:lnTo>
                        <a:lnTo>
                          <a:pt x="78" y="73"/>
                        </a:lnTo>
                        <a:lnTo>
                          <a:pt x="76" y="73"/>
                        </a:lnTo>
                        <a:lnTo>
                          <a:pt x="76" y="71"/>
                        </a:lnTo>
                        <a:lnTo>
                          <a:pt x="74" y="71"/>
                        </a:lnTo>
                        <a:lnTo>
                          <a:pt x="74" y="68"/>
                        </a:lnTo>
                        <a:lnTo>
                          <a:pt x="76" y="66"/>
                        </a:lnTo>
                        <a:lnTo>
                          <a:pt x="78" y="59"/>
                        </a:lnTo>
                        <a:lnTo>
                          <a:pt x="81" y="56"/>
                        </a:lnTo>
                        <a:lnTo>
                          <a:pt x="81" y="56"/>
                        </a:lnTo>
                        <a:lnTo>
                          <a:pt x="83" y="54"/>
                        </a:lnTo>
                        <a:lnTo>
                          <a:pt x="86" y="52"/>
                        </a:lnTo>
                        <a:lnTo>
                          <a:pt x="104" y="47"/>
                        </a:lnTo>
                        <a:lnTo>
                          <a:pt x="104" y="45"/>
                        </a:lnTo>
                        <a:lnTo>
                          <a:pt x="107" y="45"/>
                        </a:lnTo>
                        <a:lnTo>
                          <a:pt x="104" y="40"/>
                        </a:lnTo>
                        <a:lnTo>
                          <a:pt x="104" y="35"/>
                        </a:lnTo>
                        <a:lnTo>
                          <a:pt x="104" y="30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49" name="Freeform 55">
                    <a:extLst>
                      <a:ext uri="{FF2B5EF4-FFF2-40B4-BE49-F238E27FC236}">
                        <a16:creationId xmlns:a16="http://schemas.microsoft.com/office/drawing/2014/main" id="{33CE682E-4B18-4A5D-96FE-1C846E7EDC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836801" y="1213483"/>
                    <a:ext cx="764627" cy="817475"/>
                  </a:xfrm>
                  <a:custGeom>
                    <a:avLst/>
                    <a:gdLst>
                      <a:gd name="T0" fmla="*/ 24 w 603"/>
                      <a:gd name="T1" fmla="*/ 260 h 644"/>
                      <a:gd name="T2" fmla="*/ 5 w 603"/>
                      <a:gd name="T3" fmla="*/ 218 h 644"/>
                      <a:gd name="T4" fmla="*/ 14 w 603"/>
                      <a:gd name="T5" fmla="*/ 163 h 644"/>
                      <a:gd name="T6" fmla="*/ 94 w 603"/>
                      <a:gd name="T7" fmla="*/ 180 h 644"/>
                      <a:gd name="T8" fmla="*/ 128 w 603"/>
                      <a:gd name="T9" fmla="*/ 182 h 644"/>
                      <a:gd name="T10" fmla="*/ 175 w 603"/>
                      <a:gd name="T11" fmla="*/ 182 h 644"/>
                      <a:gd name="T12" fmla="*/ 191 w 603"/>
                      <a:gd name="T13" fmla="*/ 137 h 644"/>
                      <a:gd name="T14" fmla="*/ 281 w 603"/>
                      <a:gd name="T15" fmla="*/ 81 h 644"/>
                      <a:gd name="T16" fmla="*/ 307 w 603"/>
                      <a:gd name="T17" fmla="*/ 66 h 644"/>
                      <a:gd name="T18" fmla="*/ 333 w 603"/>
                      <a:gd name="T19" fmla="*/ 59 h 644"/>
                      <a:gd name="T20" fmla="*/ 378 w 603"/>
                      <a:gd name="T21" fmla="*/ 66 h 644"/>
                      <a:gd name="T22" fmla="*/ 494 w 603"/>
                      <a:gd name="T23" fmla="*/ 0 h 644"/>
                      <a:gd name="T24" fmla="*/ 490 w 603"/>
                      <a:gd name="T25" fmla="*/ 64 h 644"/>
                      <a:gd name="T26" fmla="*/ 511 w 603"/>
                      <a:gd name="T27" fmla="*/ 85 h 644"/>
                      <a:gd name="T28" fmla="*/ 537 w 603"/>
                      <a:gd name="T29" fmla="*/ 118 h 644"/>
                      <a:gd name="T30" fmla="*/ 584 w 603"/>
                      <a:gd name="T31" fmla="*/ 156 h 644"/>
                      <a:gd name="T32" fmla="*/ 584 w 603"/>
                      <a:gd name="T33" fmla="*/ 180 h 644"/>
                      <a:gd name="T34" fmla="*/ 575 w 603"/>
                      <a:gd name="T35" fmla="*/ 185 h 644"/>
                      <a:gd name="T36" fmla="*/ 542 w 603"/>
                      <a:gd name="T37" fmla="*/ 199 h 644"/>
                      <a:gd name="T38" fmla="*/ 513 w 603"/>
                      <a:gd name="T39" fmla="*/ 187 h 644"/>
                      <a:gd name="T40" fmla="*/ 494 w 603"/>
                      <a:gd name="T41" fmla="*/ 196 h 644"/>
                      <a:gd name="T42" fmla="*/ 487 w 603"/>
                      <a:gd name="T43" fmla="*/ 232 h 644"/>
                      <a:gd name="T44" fmla="*/ 445 w 603"/>
                      <a:gd name="T45" fmla="*/ 270 h 644"/>
                      <a:gd name="T46" fmla="*/ 452 w 603"/>
                      <a:gd name="T47" fmla="*/ 284 h 644"/>
                      <a:gd name="T48" fmla="*/ 442 w 603"/>
                      <a:gd name="T49" fmla="*/ 312 h 644"/>
                      <a:gd name="T50" fmla="*/ 447 w 603"/>
                      <a:gd name="T51" fmla="*/ 338 h 644"/>
                      <a:gd name="T52" fmla="*/ 456 w 603"/>
                      <a:gd name="T53" fmla="*/ 355 h 644"/>
                      <a:gd name="T54" fmla="*/ 475 w 603"/>
                      <a:gd name="T55" fmla="*/ 362 h 644"/>
                      <a:gd name="T56" fmla="*/ 490 w 603"/>
                      <a:gd name="T57" fmla="*/ 381 h 644"/>
                      <a:gd name="T58" fmla="*/ 483 w 603"/>
                      <a:gd name="T59" fmla="*/ 398 h 644"/>
                      <a:gd name="T60" fmla="*/ 447 w 603"/>
                      <a:gd name="T61" fmla="*/ 428 h 644"/>
                      <a:gd name="T62" fmla="*/ 423 w 603"/>
                      <a:gd name="T63" fmla="*/ 454 h 644"/>
                      <a:gd name="T64" fmla="*/ 409 w 603"/>
                      <a:gd name="T65" fmla="*/ 492 h 644"/>
                      <a:gd name="T66" fmla="*/ 390 w 603"/>
                      <a:gd name="T67" fmla="*/ 480 h 644"/>
                      <a:gd name="T68" fmla="*/ 350 w 603"/>
                      <a:gd name="T69" fmla="*/ 495 h 644"/>
                      <a:gd name="T70" fmla="*/ 338 w 603"/>
                      <a:gd name="T71" fmla="*/ 514 h 644"/>
                      <a:gd name="T72" fmla="*/ 324 w 603"/>
                      <a:gd name="T73" fmla="*/ 523 h 644"/>
                      <a:gd name="T74" fmla="*/ 312 w 603"/>
                      <a:gd name="T75" fmla="*/ 525 h 644"/>
                      <a:gd name="T76" fmla="*/ 293 w 603"/>
                      <a:gd name="T77" fmla="*/ 587 h 644"/>
                      <a:gd name="T78" fmla="*/ 291 w 603"/>
                      <a:gd name="T79" fmla="*/ 603 h 644"/>
                      <a:gd name="T80" fmla="*/ 248 w 603"/>
                      <a:gd name="T81" fmla="*/ 627 h 644"/>
                      <a:gd name="T82" fmla="*/ 229 w 603"/>
                      <a:gd name="T83" fmla="*/ 637 h 644"/>
                      <a:gd name="T84" fmla="*/ 215 w 603"/>
                      <a:gd name="T85" fmla="*/ 641 h 644"/>
                      <a:gd name="T86" fmla="*/ 201 w 603"/>
                      <a:gd name="T87" fmla="*/ 618 h 644"/>
                      <a:gd name="T88" fmla="*/ 206 w 603"/>
                      <a:gd name="T89" fmla="*/ 601 h 644"/>
                      <a:gd name="T90" fmla="*/ 173 w 603"/>
                      <a:gd name="T91" fmla="*/ 580 h 644"/>
                      <a:gd name="T92" fmla="*/ 144 w 603"/>
                      <a:gd name="T93" fmla="*/ 584 h 644"/>
                      <a:gd name="T94" fmla="*/ 137 w 603"/>
                      <a:gd name="T95" fmla="*/ 599 h 644"/>
                      <a:gd name="T96" fmla="*/ 116 w 603"/>
                      <a:gd name="T97" fmla="*/ 608 h 644"/>
                      <a:gd name="T98" fmla="*/ 104 w 603"/>
                      <a:gd name="T99" fmla="*/ 601 h 644"/>
                      <a:gd name="T100" fmla="*/ 85 w 603"/>
                      <a:gd name="T101" fmla="*/ 577 h 644"/>
                      <a:gd name="T102" fmla="*/ 83 w 603"/>
                      <a:gd name="T103" fmla="*/ 554 h 644"/>
                      <a:gd name="T104" fmla="*/ 68 w 603"/>
                      <a:gd name="T105" fmla="*/ 540 h 644"/>
                      <a:gd name="T106" fmla="*/ 68 w 603"/>
                      <a:gd name="T107" fmla="*/ 518 h 644"/>
                      <a:gd name="T108" fmla="*/ 85 w 603"/>
                      <a:gd name="T109" fmla="*/ 478 h 644"/>
                      <a:gd name="T110" fmla="*/ 90 w 603"/>
                      <a:gd name="T111" fmla="*/ 421 h 644"/>
                      <a:gd name="T112" fmla="*/ 80 w 603"/>
                      <a:gd name="T113" fmla="*/ 390 h 644"/>
                      <a:gd name="T114" fmla="*/ 87 w 603"/>
                      <a:gd name="T115" fmla="*/ 367 h 644"/>
                      <a:gd name="T116" fmla="*/ 90 w 603"/>
                      <a:gd name="T117" fmla="*/ 336 h 644"/>
                      <a:gd name="T118" fmla="*/ 40 w 603"/>
                      <a:gd name="T119" fmla="*/ 310 h 64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</a:cxnLst>
                    <a:rect l="0" t="0" r="r" b="b"/>
                    <a:pathLst>
                      <a:path w="603" h="644">
                        <a:moveTo>
                          <a:pt x="38" y="308"/>
                        </a:moveTo>
                        <a:lnTo>
                          <a:pt x="38" y="308"/>
                        </a:lnTo>
                        <a:lnTo>
                          <a:pt x="33" y="298"/>
                        </a:lnTo>
                        <a:lnTo>
                          <a:pt x="31" y="296"/>
                        </a:lnTo>
                        <a:lnTo>
                          <a:pt x="33" y="293"/>
                        </a:lnTo>
                        <a:lnTo>
                          <a:pt x="33" y="282"/>
                        </a:lnTo>
                        <a:lnTo>
                          <a:pt x="33" y="272"/>
                        </a:lnTo>
                        <a:lnTo>
                          <a:pt x="28" y="265"/>
                        </a:lnTo>
                        <a:lnTo>
                          <a:pt x="24" y="260"/>
                        </a:lnTo>
                        <a:lnTo>
                          <a:pt x="9" y="260"/>
                        </a:lnTo>
                        <a:lnTo>
                          <a:pt x="5" y="256"/>
                        </a:lnTo>
                        <a:lnTo>
                          <a:pt x="0" y="246"/>
                        </a:lnTo>
                        <a:lnTo>
                          <a:pt x="2" y="241"/>
                        </a:lnTo>
                        <a:lnTo>
                          <a:pt x="5" y="239"/>
                        </a:lnTo>
                        <a:lnTo>
                          <a:pt x="7" y="234"/>
                        </a:lnTo>
                        <a:lnTo>
                          <a:pt x="7" y="227"/>
                        </a:lnTo>
                        <a:lnTo>
                          <a:pt x="5" y="223"/>
                        </a:lnTo>
                        <a:lnTo>
                          <a:pt x="5" y="218"/>
                        </a:lnTo>
                        <a:lnTo>
                          <a:pt x="9" y="215"/>
                        </a:lnTo>
                        <a:lnTo>
                          <a:pt x="14" y="208"/>
                        </a:lnTo>
                        <a:lnTo>
                          <a:pt x="12" y="204"/>
                        </a:lnTo>
                        <a:lnTo>
                          <a:pt x="9" y="196"/>
                        </a:lnTo>
                        <a:lnTo>
                          <a:pt x="7" y="192"/>
                        </a:lnTo>
                        <a:lnTo>
                          <a:pt x="12" y="182"/>
                        </a:lnTo>
                        <a:lnTo>
                          <a:pt x="14" y="180"/>
                        </a:lnTo>
                        <a:lnTo>
                          <a:pt x="14" y="175"/>
                        </a:lnTo>
                        <a:lnTo>
                          <a:pt x="14" y="163"/>
                        </a:lnTo>
                        <a:lnTo>
                          <a:pt x="24" y="168"/>
                        </a:lnTo>
                        <a:lnTo>
                          <a:pt x="35" y="168"/>
                        </a:lnTo>
                        <a:lnTo>
                          <a:pt x="64" y="156"/>
                        </a:lnTo>
                        <a:lnTo>
                          <a:pt x="68" y="156"/>
                        </a:lnTo>
                        <a:lnTo>
                          <a:pt x="73" y="156"/>
                        </a:lnTo>
                        <a:lnTo>
                          <a:pt x="97" y="166"/>
                        </a:lnTo>
                        <a:lnTo>
                          <a:pt x="102" y="170"/>
                        </a:lnTo>
                        <a:lnTo>
                          <a:pt x="99" y="173"/>
                        </a:lnTo>
                        <a:lnTo>
                          <a:pt x="94" y="180"/>
                        </a:lnTo>
                        <a:lnTo>
                          <a:pt x="94" y="182"/>
                        </a:lnTo>
                        <a:lnTo>
                          <a:pt x="97" y="185"/>
                        </a:lnTo>
                        <a:lnTo>
                          <a:pt x="99" y="185"/>
                        </a:lnTo>
                        <a:lnTo>
                          <a:pt x="104" y="182"/>
                        </a:lnTo>
                        <a:lnTo>
                          <a:pt x="109" y="182"/>
                        </a:lnTo>
                        <a:lnTo>
                          <a:pt x="118" y="187"/>
                        </a:lnTo>
                        <a:lnTo>
                          <a:pt x="121" y="187"/>
                        </a:lnTo>
                        <a:lnTo>
                          <a:pt x="125" y="185"/>
                        </a:lnTo>
                        <a:lnTo>
                          <a:pt x="128" y="182"/>
                        </a:lnTo>
                        <a:lnTo>
                          <a:pt x="130" y="185"/>
                        </a:lnTo>
                        <a:lnTo>
                          <a:pt x="137" y="187"/>
                        </a:lnTo>
                        <a:lnTo>
                          <a:pt x="139" y="189"/>
                        </a:lnTo>
                        <a:lnTo>
                          <a:pt x="142" y="187"/>
                        </a:lnTo>
                        <a:lnTo>
                          <a:pt x="151" y="185"/>
                        </a:lnTo>
                        <a:lnTo>
                          <a:pt x="156" y="182"/>
                        </a:lnTo>
                        <a:lnTo>
                          <a:pt x="165" y="182"/>
                        </a:lnTo>
                        <a:lnTo>
                          <a:pt x="173" y="182"/>
                        </a:lnTo>
                        <a:lnTo>
                          <a:pt x="175" y="182"/>
                        </a:lnTo>
                        <a:lnTo>
                          <a:pt x="180" y="178"/>
                        </a:lnTo>
                        <a:lnTo>
                          <a:pt x="184" y="166"/>
                        </a:lnTo>
                        <a:lnTo>
                          <a:pt x="184" y="163"/>
                        </a:lnTo>
                        <a:lnTo>
                          <a:pt x="187" y="161"/>
                        </a:lnTo>
                        <a:lnTo>
                          <a:pt x="189" y="161"/>
                        </a:lnTo>
                        <a:lnTo>
                          <a:pt x="189" y="159"/>
                        </a:lnTo>
                        <a:lnTo>
                          <a:pt x="189" y="154"/>
                        </a:lnTo>
                        <a:lnTo>
                          <a:pt x="189" y="152"/>
                        </a:lnTo>
                        <a:lnTo>
                          <a:pt x="191" y="137"/>
                        </a:lnTo>
                        <a:lnTo>
                          <a:pt x="191" y="123"/>
                        </a:lnTo>
                        <a:lnTo>
                          <a:pt x="194" y="118"/>
                        </a:lnTo>
                        <a:lnTo>
                          <a:pt x="210" y="97"/>
                        </a:lnTo>
                        <a:lnTo>
                          <a:pt x="215" y="92"/>
                        </a:lnTo>
                        <a:lnTo>
                          <a:pt x="234" y="83"/>
                        </a:lnTo>
                        <a:lnTo>
                          <a:pt x="253" y="76"/>
                        </a:lnTo>
                        <a:lnTo>
                          <a:pt x="265" y="78"/>
                        </a:lnTo>
                        <a:lnTo>
                          <a:pt x="274" y="81"/>
                        </a:lnTo>
                        <a:lnTo>
                          <a:pt x="281" y="81"/>
                        </a:lnTo>
                        <a:lnTo>
                          <a:pt x="291" y="69"/>
                        </a:lnTo>
                        <a:lnTo>
                          <a:pt x="291" y="69"/>
                        </a:lnTo>
                        <a:lnTo>
                          <a:pt x="293" y="66"/>
                        </a:lnTo>
                        <a:lnTo>
                          <a:pt x="293" y="64"/>
                        </a:lnTo>
                        <a:lnTo>
                          <a:pt x="298" y="62"/>
                        </a:lnTo>
                        <a:lnTo>
                          <a:pt x="303" y="62"/>
                        </a:lnTo>
                        <a:lnTo>
                          <a:pt x="305" y="64"/>
                        </a:lnTo>
                        <a:lnTo>
                          <a:pt x="305" y="64"/>
                        </a:lnTo>
                        <a:lnTo>
                          <a:pt x="307" y="66"/>
                        </a:lnTo>
                        <a:lnTo>
                          <a:pt x="310" y="69"/>
                        </a:lnTo>
                        <a:lnTo>
                          <a:pt x="312" y="69"/>
                        </a:lnTo>
                        <a:lnTo>
                          <a:pt x="317" y="66"/>
                        </a:lnTo>
                        <a:lnTo>
                          <a:pt x="319" y="64"/>
                        </a:lnTo>
                        <a:lnTo>
                          <a:pt x="319" y="64"/>
                        </a:lnTo>
                        <a:lnTo>
                          <a:pt x="319" y="64"/>
                        </a:lnTo>
                        <a:lnTo>
                          <a:pt x="319" y="64"/>
                        </a:lnTo>
                        <a:lnTo>
                          <a:pt x="326" y="62"/>
                        </a:lnTo>
                        <a:lnTo>
                          <a:pt x="333" y="59"/>
                        </a:lnTo>
                        <a:lnTo>
                          <a:pt x="348" y="62"/>
                        </a:lnTo>
                        <a:lnTo>
                          <a:pt x="348" y="62"/>
                        </a:lnTo>
                        <a:lnTo>
                          <a:pt x="348" y="62"/>
                        </a:lnTo>
                        <a:lnTo>
                          <a:pt x="350" y="59"/>
                        </a:lnTo>
                        <a:lnTo>
                          <a:pt x="352" y="59"/>
                        </a:lnTo>
                        <a:lnTo>
                          <a:pt x="359" y="59"/>
                        </a:lnTo>
                        <a:lnTo>
                          <a:pt x="369" y="66"/>
                        </a:lnTo>
                        <a:lnTo>
                          <a:pt x="374" y="66"/>
                        </a:lnTo>
                        <a:lnTo>
                          <a:pt x="378" y="66"/>
                        </a:lnTo>
                        <a:lnTo>
                          <a:pt x="383" y="59"/>
                        </a:lnTo>
                        <a:lnTo>
                          <a:pt x="386" y="57"/>
                        </a:lnTo>
                        <a:lnTo>
                          <a:pt x="397" y="52"/>
                        </a:lnTo>
                        <a:lnTo>
                          <a:pt x="407" y="43"/>
                        </a:lnTo>
                        <a:lnTo>
                          <a:pt x="419" y="36"/>
                        </a:lnTo>
                        <a:lnTo>
                          <a:pt x="430" y="28"/>
                        </a:lnTo>
                        <a:lnTo>
                          <a:pt x="449" y="26"/>
                        </a:lnTo>
                        <a:lnTo>
                          <a:pt x="475" y="5"/>
                        </a:lnTo>
                        <a:lnTo>
                          <a:pt x="494" y="0"/>
                        </a:lnTo>
                        <a:lnTo>
                          <a:pt x="501" y="0"/>
                        </a:lnTo>
                        <a:lnTo>
                          <a:pt x="504" y="12"/>
                        </a:lnTo>
                        <a:lnTo>
                          <a:pt x="499" y="21"/>
                        </a:lnTo>
                        <a:lnTo>
                          <a:pt x="483" y="33"/>
                        </a:lnTo>
                        <a:lnTo>
                          <a:pt x="480" y="40"/>
                        </a:lnTo>
                        <a:lnTo>
                          <a:pt x="483" y="45"/>
                        </a:lnTo>
                        <a:lnTo>
                          <a:pt x="485" y="50"/>
                        </a:lnTo>
                        <a:lnTo>
                          <a:pt x="487" y="59"/>
                        </a:lnTo>
                        <a:lnTo>
                          <a:pt x="490" y="64"/>
                        </a:lnTo>
                        <a:lnTo>
                          <a:pt x="494" y="66"/>
                        </a:lnTo>
                        <a:lnTo>
                          <a:pt x="494" y="71"/>
                        </a:lnTo>
                        <a:lnTo>
                          <a:pt x="490" y="76"/>
                        </a:lnTo>
                        <a:lnTo>
                          <a:pt x="494" y="76"/>
                        </a:lnTo>
                        <a:lnTo>
                          <a:pt x="501" y="76"/>
                        </a:lnTo>
                        <a:lnTo>
                          <a:pt x="504" y="78"/>
                        </a:lnTo>
                        <a:lnTo>
                          <a:pt x="509" y="81"/>
                        </a:lnTo>
                        <a:lnTo>
                          <a:pt x="509" y="83"/>
                        </a:lnTo>
                        <a:lnTo>
                          <a:pt x="511" y="85"/>
                        </a:lnTo>
                        <a:lnTo>
                          <a:pt x="516" y="85"/>
                        </a:lnTo>
                        <a:lnTo>
                          <a:pt x="527" y="85"/>
                        </a:lnTo>
                        <a:lnTo>
                          <a:pt x="532" y="88"/>
                        </a:lnTo>
                        <a:lnTo>
                          <a:pt x="537" y="95"/>
                        </a:lnTo>
                        <a:lnTo>
                          <a:pt x="537" y="102"/>
                        </a:lnTo>
                        <a:lnTo>
                          <a:pt x="537" y="104"/>
                        </a:lnTo>
                        <a:lnTo>
                          <a:pt x="537" y="107"/>
                        </a:lnTo>
                        <a:lnTo>
                          <a:pt x="537" y="111"/>
                        </a:lnTo>
                        <a:lnTo>
                          <a:pt x="537" y="118"/>
                        </a:lnTo>
                        <a:lnTo>
                          <a:pt x="539" y="121"/>
                        </a:lnTo>
                        <a:lnTo>
                          <a:pt x="542" y="121"/>
                        </a:lnTo>
                        <a:lnTo>
                          <a:pt x="544" y="123"/>
                        </a:lnTo>
                        <a:lnTo>
                          <a:pt x="551" y="126"/>
                        </a:lnTo>
                        <a:lnTo>
                          <a:pt x="556" y="126"/>
                        </a:lnTo>
                        <a:lnTo>
                          <a:pt x="561" y="128"/>
                        </a:lnTo>
                        <a:lnTo>
                          <a:pt x="565" y="135"/>
                        </a:lnTo>
                        <a:lnTo>
                          <a:pt x="572" y="149"/>
                        </a:lnTo>
                        <a:lnTo>
                          <a:pt x="584" y="156"/>
                        </a:lnTo>
                        <a:lnTo>
                          <a:pt x="596" y="159"/>
                        </a:lnTo>
                        <a:lnTo>
                          <a:pt x="603" y="159"/>
                        </a:lnTo>
                        <a:lnTo>
                          <a:pt x="598" y="166"/>
                        </a:lnTo>
                        <a:lnTo>
                          <a:pt x="594" y="168"/>
                        </a:lnTo>
                        <a:lnTo>
                          <a:pt x="594" y="170"/>
                        </a:lnTo>
                        <a:lnTo>
                          <a:pt x="591" y="173"/>
                        </a:lnTo>
                        <a:lnTo>
                          <a:pt x="591" y="173"/>
                        </a:lnTo>
                        <a:lnTo>
                          <a:pt x="587" y="178"/>
                        </a:lnTo>
                        <a:lnTo>
                          <a:pt x="584" y="180"/>
                        </a:lnTo>
                        <a:lnTo>
                          <a:pt x="584" y="180"/>
                        </a:lnTo>
                        <a:lnTo>
                          <a:pt x="584" y="185"/>
                        </a:lnTo>
                        <a:lnTo>
                          <a:pt x="584" y="185"/>
                        </a:lnTo>
                        <a:lnTo>
                          <a:pt x="584" y="187"/>
                        </a:lnTo>
                        <a:lnTo>
                          <a:pt x="582" y="187"/>
                        </a:lnTo>
                        <a:lnTo>
                          <a:pt x="580" y="187"/>
                        </a:lnTo>
                        <a:lnTo>
                          <a:pt x="577" y="187"/>
                        </a:lnTo>
                        <a:lnTo>
                          <a:pt x="575" y="187"/>
                        </a:lnTo>
                        <a:lnTo>
                          <a:pt x="575" y="185"/>
                        </a:lnTo>
                        <a:lnTo>
                          <a:pt x="572" y="185"/>
                        </a:lnTo>
                        <a:lnTo>
                          <a:pt x="572" y="185"/>
                        </a:lnTo>
                        <a:lnTo>
                          <a:pt x="570" y="185"/>
                        </a:lnTo>
                        <a:lnTo>
                          <a:pt x="568" y="187"/>
                        </a:lnTo>
                        <a:lnTo>
                          <a:pt x="565" y="189"/>
                        </a:lnTo>
                        <a:lnTo>
                          <a:pt x="563" y="192"/>
                        </a:lnTo>
                        <a:lnTo>
                          <a:pt x="561" y="192"/>
                        </a:lnTo>
                        <a:lnTo>
                          <a:pt x="546" y="196"/>
                        </a:lnTo>
                        <a:lnTo>
                          <a:pt x="542" y="199"/>
                        </a:lnTo>
                        <a:lnTo>
                          <a:pt x="537" y="204"/>
                        </a:lnTo>
                        <a:lnTo>
                          <a:pt x="535" y="206"/>
                        </a:lnTo>
                        <a:lnTo>
                          <a:pt x="532" y="204"/>
                        </a:lnTo>
                        <a:lnTo>
                          <a:pt x="532" y="201"/>
                        </a:lnTo>
                        <a:lnTo>
                          <a:pt x="532" y="199"/>
                        </a:lnTo>
                        <a:lnTo>
                          <a:pt x="523" y="189"/>
                        </a:lnTo>
                        <a:lnTo>
                          <a:pt x="523" y="189"/>
                        </a:lnTo>
                        <a:lnTo>
                          <a:pt x="520" y="189"/>
                        </a:lnTo>
                        <a:lnTo>
                          <a:pt x="513" y="187"/>
                        </a:lnTo>
                        <a:lnTo>
                          <a:pt x="511" y="187"/>
                        </a:lnTo>
                        <a:lnTo>
                          <a:pt x="499" y="180"/>
                        </a:lnTo>
                        <a:lnTo>
                          <a:pt x="497" y="180"/>
                        </a:lnTo>
                        <a:lnTo>
                          <a:pt x="497" y="180"/>
                        </a:lnTo>
                        <a:lnTo>
                          <a:pt x="494" y="182"/>
                        </a:lnTo>
                        <a:lnTo>
                          <a:pt x="494" y="185"/>
                        </a:lnTo>
                        <a:lnTo>
                          <a:pt x="494" y="187"/>
                        </a:lnTo>
                        <a:lnTo>
                          <a:pt x="494" y="194"/>
                        </a:lnTo>
                        <a:lnTo>
                          <a:pt x="494" y="196"/>
                        </a:lnTo>
                        <a:lnTo>
                          <a:pt x="494" y="204"/>
                        </a:lnTo>
                        <a:lnTo>
                          <a:pt x="492" y="208"/>
                        </a:lnTo>
                        <a:lnTo>
                          <a:pt x="492" y="215"/>
                        </a:lnTo>
                        <a:lnTo>
                          <a:pt x="487" y="220"/>
                        </a:lnTo>
                        <a:lnTo>
                          <a:pt x="487" y="223"/>
                        </a:lnTo>
                        <a:lnTo>
                          <a:pt x="487" y="225"/>
                        </a:lnTo>
                        <a:lnTo>
                          <a:pt x="487" y="230"/>
                        </a:lnTo>
                        <a:lnTo>
                          <a:pt x="487" y="232"/>
                        </a:lnTo>
                        <a:lnTo>
                          <a:pt x="487" y="232"/>
                        </a:lnTo>
                        <a:lnTo>
                          <a:pt x="485" y="234"/>
                        </a:lnTo>
                        <a:lnTo>
                          <a:pt x="485" y="234"/>
                        </a:lnTo>
                        <a:lnTo>
                          <a:pt x="485" y="237"/>
                        </a:lnTo>
                        <a:lnTo>
                          <a:pt x="480" y="239"/>
                        </a:lnTo>
                        <a:lnTo>
                          <a:pt x="438" y="253"/>
                        </a:lnTo>
                        <a:lnTo>
                          <a:pt x="433" y="260"/>
                        </a:lnTo>
                        <a:lnTo>
                          <a:pt x="435" y="267"/>
                        </a:lnTo>
                        <a:lnTo>
                          <a:pt x="438" y="270"/>
                        </a:lnTo>
                        <a:lnTo>
                          <a:pt x="445" y="270"/>
                        </a:lnTo>
                        <a:lnTo>
                          <a:pt x="449" y="272"/>
                        </a:lnTo>
                        <a:lnTo>
                          <a:pt x="452" y="272"/>
                        </a:lnTo>
                        <a:lnTo>
                          <a:pt x="452" y="275"/>
                        </a:lnTo>
                        <a:lnTo>
                          <a:pt x="452" y="275"/>
                        </a:lnTo>
                        <a:lnTo>
                          <a:pt x="454" y="277"/>
                        </a:lnTo>
                        <a:lnTo>
                          <a:pt x="454" y="277"/>
                        </a:lnTo>
                        <a:lnTo>
                          <a:pt x="454" y="279"/>
                        </a:lnTo>
                        <a:lnTo>
                          <a:pt x="452" y="282"/>
                        </a:lnTo>
                        <a:lnTo>
                          <a:pt x="452" y="284"/>
                        </a:lnTo>
                        <a:lnTo>
                          <a:pt x="449" y="286"/>
                        </a:lnTo>
                        <a:lnTo>
                          <a:pt x="447" y="289"/>
                        </a:lnTo>
                        <a:lnTo>
                          <a:pt x="447" y="289"/>
                        </a:lnTo>
                        <a:lnTo>
                          <a:pt x="445" y="291"/>
                        </a:lnTo>
                        <a:lnTo>
                          <a:pt x="445" y="293"/>
                        </a:lnTo>
                        <a:lnTo>
                          <a:pt x="445" y="296"/>
                        </a:lnTo>
                        <a:lnTo>
                          <a:pt x="445" y="310"/>
                        </a:lnTo>
                        <a:lnTo>
                          <a:pt x="445" y="310"/>
                        </a:lnTo>
                        <a:lnTo>
                          <a:pt x="442" y="312"/>
                        </a:lnTo>
                        <a:lnTo>
                          <a:pt x="438" y="312"/>
                        </a:lnTo>
                        <a:lnTo>
                          <a:pt x="438" y="315"/>
                        </a:lnTo>
                        <a:lnTo>
                          <a:pt x="433" y="320"/>
                        </a:lnTo>
                        <a:lnTo>
                          <a:pt x="433" y="320"/>
                        </a:lnTo>
                        <a:lnTo>
                          <a:pt x="430" y="322"/>
                        </a:lnTo>
                        <a:lnTo>
                          <a:pt x="433" y="324"/>
                        </a:lnTo>
                        <a:lnTo>
                          <a:pt x="433" y="327"/>
                        </a:lnTo>
                        <a:lnTo>
                          <a:pt x="435" y="329"/>
                        </a:lnTo>
                        <a:lnTo>
                          <a:pt x="447" y="338"/>
                        </a:lnTo>
                        <a:lnTo>
                          <a:pt x="449" y="341"/>
                        </a:lnTo>
                        <a:lnTo>
                          <a:pt x="449" y="341"/>
                        </a:lnTo>
                        <a:lnTo>
                          <a:pt x="449" y="343"/>
                        </a:lnTo>
                        <a:lnTo>
                          <a:pt x="449" y="346"/>
                        </a:lnTo>
                        <a:lnTo>
                          <a:pt x="452" y="353"/>
                        </a:lnTo>
                        <a:lnTo>
                          <a:pt x="452" y="355"/>
                        </a:lnTo>
                        <a:lnTo>
                          <a:pt x="452" y="355"/>
                        </a:lnTo>
                        <a:lnTo>
                          <a:pt x="454" y="357"/>
                        </a:lnTo>
                        <a:lnTo>
                          <a:pt x="456" y="355"/>
                        </a:lnTo>
                        <a:lnTo>
                          <a:pt x="464" y="355"/>
                        </a:lnTo>
                        <a:lnTo>
                          <a:pt x="464" y="355"/>
                        </a:lnTo>
                        <a:lnTo>
                          <a:pt x="466" y="355"/>
                        </a:lnTo>
                        <a:lnTo>
                          <a:pt x="466" y="357"/>
                        </a:lnTo>
                        <a:lnTo>
                          <a:pt x="468" y="360"/>
                        </a:lnTo>
                        <a:lnTo>
                          <a:pt x="468" y="360"/>
                        </a:lnTo>
                        <a:lnTo>
                          <a:pt x="471" y="360"/>
                        </a:lnTo>
                        <a:lnTo>
                          <a:pt x="473" y="362"/>
                        </a:lnTo>
                        <a:lnTo>
                          <a:pt x="475" y="362"/>
                        </a:lnTo>
                        <a:lnTo>
                          <a:pt x="475" y="362"/>
                        </a:lnTo>
                        <a:lnTo>
                          <a:pt x="475" y="362"/>
                        </a:lnTo>
                        <a:lnTo>
                          <a:pt x="475" y="369"/>
                        </a:lnTo>
                        <a:lnTo>
                          <a:pt x="475" y="372"/>
                        </a:lnTo>
                        <a:lnTo>
                          <a:pt x="475" y="374"/>
                        </a:lnTo>
                        <a:lnTo>
                          <a:pt x="475" y="376"/>
                        </a:lnTo>
                        <a:lnTo>
                          <a:pt x="478" y="376"/>
                        </a:lnTo>
                        <a:lnTo>
                          <a:pt x="480" y="379"/>
                        </a:lnTo>
                        <a:lnTo>
                          <a:pt x="490" y="381"/>
                        </a:lnTo>
                        <a:lnTo>
                          <a:pt x="490" y="383"/>
                        </a:lnTo>
                        <a:lnTo>
                          <a:pt x="492" y="383"/>
                        </a:lnTo>
                        <a:lnTo>
                          <a:pt x="492" y="386"/>
                        </a:lnTo>
                        <a:lnTo>
                          <a:pt x="492" y="386"/>
                        </a:lnTo>
                        <a:lnTo>
                          <a:pt x="492" y="388"/>
                        </a:lnTo>
                        <a:lnTo>
                          <a:pt x="490" y="390"/>
                        </a:lnTo>
                        <a:lnTo>
                          <a:pt x="485" y="393"/>
                        </a:lnTo>
                        <a:lnTo>
                          <a:pt x="485" y="395"/>
                        </a:lnTo>
                        <a:lnTo>
                          <a:pt x="483" y="398"/>
                        </a:lnTo>
                        <a:lnTo>
                          <a:pt x="478" y="407"/>
                        </a:lnTo>
                        <a:lnTo>
                          <a:pt x="475" y="409"/>
                        </a:lnTo>
                        <a:lnTo>
                          <a:pt x="475" y="412"/>
                        </a:lnTo>
                        <a:lnTo>
                          <a:pt x="475" y="414"/>
                        </a:lnTo>
                        <a:lnTo>
                          <a:pt x="471" y="417"/>
                        </a:lnTo>
                        <a:lnTo>
                          <a:pt x="459" y="421"/>
                        </a:lnTo>
                        <a:lnTo>
                          <a:pt x="454" y="426"/>
                        </a:lnTo>
                        <a:lnTo>
                          <a:pt x="452" y="428"/>
                        </a:lnTo>
                        <a:lnTo>
                          <a:pt x="447" y="428"/>
                        </a:lnTo>
                        <a:lnTo>
                          <a:pt x="433" y="431"/>
                        </a:lnTo>
                        <a:lnTo>
                          <a:pt x="423" y="435"/>
                        </a:lnTo>
                        <a:lnTo>
                          <a:pt x="421" y="435"/>
                        </a:lnTo>
                        <a:lnTo>
                          <a:pt x="421" y="438"/>
                        </a:lnTo>
                        <a:lnTo>
                          <a:pt x="421" y="443"/>
                        </a:lnTo>
                        <a:lnTo>
                          <a:pt x="421" y="447"/>
                        </a:lnTo>
                        <a:lnTo>
                          <a:pt x="421" y="450"/>
                        </a:lnTo>
                        <a:lnTo>
                          <a:pt x="423" y="452"/>
                        </a:lnTo>
                        <a:lnTo>
                          <a:pt x="423" y="454"/>
                        </a:lnTo>
                        <a:lnTo>
                          <a:pt x="423" y="454"/>
                        </a:lnTo>
                        <a:lnTo>
                          <a:pt x="423" y="457"/>
                        </a:lnTo>
                        <a:lnTo>
                          <a:pt x="421" y="461"/>
                        </a:lnTo>
                        <a:lnTo>
                          <a:pt x="419" y="464"/>
                        </a:lnTo>
                        <a:lnTo>
                          <a:pt x="419" y="466"/>
                        </a:lnTo>
                        <a:lnTo>
                          <a:pt x="419" y="478"/>
                        </a:lnTo>
                        <a:lnTo>
                          <a:pt x="423" y="485"/>
                        </a:lnTo>
                        <a:lnTo>
                          <a:pt x="414" y="490"/>
                        </a:lnTo>
                        <a:lnTo>
                          <a:pt x="409" y="492"/>
                        </a:lnTo>
                        <a:lnTo>
                          <a:pt x="402" y="492"/>
                        </a:lnTo>
                        <a:lnTo>
                          <a:pt x="400" y="492"/>
                        </a:lnTo>
                        <a:lnTo>
                          <a:pt x="397" y="492"/>
                        </a:lnTo>
                        <a:lnTo>
                          <a:pt x="397" y="490"/>
                        </a:lnTo>
                        <a:lnTo>
                          <a:pt x="395" y="490"/>
                        </a:lnTo>
                        <a:lnTo>
                          <a:pt x="395" y="487"/>
                        </a:lnTo>
                        <a:lnTo>
                          <a:pt x="393" y="483"/>
                        </a:lnTo>
                        <a:lnTo>
                          <a:pt x="393" y="483"/>
                        </a:lnTo>
                        <a:lnTo>
                          <a:pt x="390" y="480"/>
                        </a:lnTo>
                        <a:lnTo>
                          <a:pt x="388" y="478"/>
                        </a:lnTo>
                        <a:lnTo>
                          <a:pt x="386" y="478"/>
                        </a:lnTo>
                        <a:lnTo>
                          <a:pt x="386" y="478"/>
                        </a:lnTo>
                        <a:lnTo>
                          <a:pt x="383" y="478"/>
                        </a:lnTo>
                        <a:lnTo>
                          <a:pt x="383" y="478"/>
                        </a:lnTo>
                        <a:lnTo>
                          <a:pt x="378" y="478"/>
                        </a:lnTo>
                        <a:lnTo>
                          <a:pt x="364" y="480"/>
                        </a:lnTo>
                        <a:lnTo>
                          <a:pt x="362" y="483"/>
                        </a:lnTo>
                        <a:lnTo>
                          <a:pt x="350" y="495"/>
                        </a:lnTo>
                        <a:lnTo>
                          <a:pt x="343" y="497"/>
                        </a:lnTo>
                        <a:lnTo>
                          <a:pt x="338" y="499"/>
                        </a:lnTo>
                        <a:lnTo>
                          <a:pt x="336" y="499"/>
                        </a:lnTo>
                        <a:lnTo>
                          <a:pt x="336" y="502"/>
                        </a:lnTo>
                        <a:lnTo>
                          <a:pt x="333" y="506"/>
                        </a:lnTo>
                        <a:lnTo>
                          <a:pt x="336" y="506"/>
                        </a:lnTo>
                        <a:lnTo>
                          <a:pt x="336" y="509"/>
                        </a:lnTo>
                        <a:lnTo>
                          <a:pt x="336" y="511"/>
                        </a:lnTo>
                        <a:lnTo>
                          <a:pt x="338" y="514"/>
                        </a:lnTo>
                        <a:lnTo>
                          <a:pt x="336" y="516"/>
                        </a:lnTo>
                        <a:lnTo>
                          <a:pt x="336" y="518"/>
                        </a:lnTo>
                        <a:lnTo>
                          <a:pt x="333" y="518"/>
                        </a:lnTo>
                        <a:lnTo>
                          <a:pt x="333" y="523"/>
                        </a:lnTo>
                        <a:lnTo>
                          <a:pt x="331" y="525"/>
                        </a:lnTo>
                        <a:lnTo>
                          <a:pt x="329" y="525"/>
                        </a:lnTo>
                        <a:lnTo>
                          <a:pt x="326" y="525"/>
                        </a:lnTo>
                        <a:lnTo>
                          <a:pt x="326" y="525"/>
                        </a:lnTo>
                        <a:lnTo>
                          <a:pt x="324" y="523"/>
                        </a:lnTo>
                        <a:lnTo>
                          <a:pt x="322" y="523"/>
                        </a:lnTo>
                        <a:lnTo>
                          <a:pt x="322" y="523"/>
                        </a:lnTo>
                        <a:lnTo>
                          <a:pt x="322" y="521"/>
                        </a:lnTo>
                        <a:lnTo>
                          <a:pt x="319" y="521"/>
                        </a:lnTo>
                        <a:lnTo>
                          <a:pt x="319" y="521"/>
                        </a:lnTo>
                        <a:lnTo>
                          <a:pt x="317" y="521"/>
                        </a:lnTo>
                        <a:lnTo>
                          <a:pt x="317" y="521"/>
                        </a:lnTo>
                        <a:lnTo>
                          <a:pt x="315" y="523"/>
                        </a:lnTo>
                        <a:lnTo>
                          <a:pt x="312" y="525"/>
                        </a:lnTo>
                        <a:lnTo>
                          <a:pt x="307" y="530"/>
                        </a:lnTo>
                        <a:lnTo>
                          <a:pt x="307" y="532"/>
                        </a:lnTo>
                        <a:lnTo>
                          <a:pt x="305" y="535"/>
                        </a:lnTo>
                        <a:lnTo>
                          <a:pt x="305" y="540"/>
                        </a:lnTo>
                        <a:lnTo>
                          <a:pt x="305" y="547"/>
                        </a:lnTo>
                        <a:lnTo>
                          <a:pt x="291" y="580"/>
                        </a:lnTo>
                        <a:lnTo>
                          <a:pt x="291" y="580"/>
                        </a:lnTo>
                        <a:lnTo>
                          <a:pt x="291" y="582"/>
                        </a:lnTo>
                        <a:lnTo>
                          <a:pt x="293" y="587"/>
                        </a:lnTo>
                        <a:lnTo>
                          <a:pt x="293" y="587"/>
                        </a:lnTo>
                        <a:lnTo>
                          <a:pt x="293" y="589"/>
                        </a:lnTo>
                        <a:lnTo>
                          <a:pt x="291" y="592"/>
                        </a:lnTo>
                        <a:lnTo>
                          <a:pt x="289" y="592"/>
                        </a:lnTo>
                        <a:lnTo>
                          <a:pt x="289" y="594"/>
                        </a:lnTo>
                        <a:lnTo>
                          <a:pt x="289" y="596"/>
                        </a:lnTo>
                        <a:lnTo>
                          <a:pt x="291" y="601"/>
                        </a:lnTo>
                        <a:lnTo>
                          <a:pt x="291" y="601"/>
                        </a:lnTo>
                        <a:lnTo>
                          <a:pt x="291" y="603"/>
                        </a:lnTo>
                        <a:lnTo>
                          <a:pt x="281" y="625"/>
                        </a:lnTo>
                        <a:lnTo>
                          <a:pt x="277" y="629"/>
                        </a:lnTo>
                        <a:lnTo>
                          <a:pt x="272" y="629"/>
                        </a:lnTo>
                        <a:lnTo>
                          <a:pt x="258" y="627"/>
                        </a:lnTo>
                        <a:lnTo>
                          <a:pt x="255" y="627"/>
                        </a:lnTo>
                        <a:lnTo>
                          <a:pt x="255" y="627"/>
                        </a:lnTo>
                        <a:lnTo>
                          <a:pt x="251" y="627"/>
                        </a:lnTo>
                        <a:lnTo>
                          <a:pt x="248" y="627"/>
                        </a:lnTo>
                        <a:lnTo>
                          <a:pt x="248" y="627"/>
                        </a:lnTo>
                        <a:lnTo>
                          <a:pt x="244" y="627"/>
                        </a:lnTo>
                        <a:lnTo>
                          <a:pt x="241" y="627"/>
                        </a:lnTo>
                        <a:lnTo>
                          <a:pt x="241" y="629"/>
                        </a:lnTo>
                        <a:lnTo>
                          <a:pt x="239" y="634"/>
                        </a:lnTo>
                        <a:lnTo>
                          <a:pt x="236" y="637"/>
                        </a:lnTo>
                        <a:lnTo>
                          <a:pt x="236" y="637"/>
                        </a:lnTo>
                        <a:lnTo>
                          <a:pt x="234" y="639"/>
                        </a:lnTo>
                        <a:lnTo>
                          <a:pt x="234" y="639"/>
                        </a:lnTo>
                        <a:lnTo>
                          <a:pt x="229" y="637"/>
                        </a:lnTo>
                        <a:lnTo>
                          <a:pt x="227" y="639"/>
                        </a:lnTo>
                        <a:lnTo>
                          <a:pt x="227" y="639"/>
                        </a:lnTo>
                        <a:lnTo>
                          <a:pt x="225" y="641"/>
                        </a:lnTo>
                        <a:lnTo>
                          <a:pt x="225" y="644"/>
                        </a:lnTo>
                        <a:lnTo>
                          <a:pt x="225" y="644"/>
                        </a:lnTo>
                        <a:lnTo>
                          <a:pt x="222" y="644"/>
                        </a:lnTo>
                        <a:lnTo>
                          <a:pt x="220" y="644"/>
                        </a:lnTo>
                        <a:lnTo>
                          <a:pt x="218" y="644"/>
                        </a:lnTo>
                        <a:lnTo>
                          <a:pt x="215" y="641"/>
                        </a:lnTo>
                        <a:lnTo>
                          <a:pt x="210" y="634"/>
                        </a:lnTo>
                        <a:lnTo>
                          <a:pt x="208" y="632"/>
                        </a:lnTo>
                        <a:lnTo>
                          <a:pt x="206" y="632"/>
                        </a:lnTo>
                        <a:lnTo>
                          <a:pt x="203" y="632"/>
                        </a:lnTo>
                        <a:lnTo>
                          <a:pt x="201" y="632"/>
                        </a:lnTo>
                        <a:lnTo>
                          <a:pt x="201" y="629"/>
                        </a:lnTo>
                        <a:lnTo>
                          <a:pt x="201" y="627"/>
                        </a:lnTo>
                        <a:lnTo>
                          <a:pt x="201" y="618"/>
                        </a:lnTo>
                        <a:lnTo>
                          <a:pt x="201" y="618"/>
                        </a:lnTo>
                        <a:lnTo>
                          <a:pt x="201" y="615"/>
                        </a:lnTo>
                        <a:lnTo>
                          <a:pt x="201" y="615"/>
                        </a:lnTo>
                        <a:lnTo>
                          <a:pt x="201" y="613"/>
                        </a:lnTo>
                        <a:lnTo>
                          <a:pt x="201" y="611"/>
                        </a:lnTo>
                        <a:lnTo>
                          <a:pt x="201" y="611"/>
                        </a:lnTo>
                        <a:lnTo>
                          <a:pt x="206" y="606"/>
                        </a:lnTo>
                        <a:lnTo>
                          <a:pt x="206" y="603"/>
                        </a:lnTo>
                        <a:lnTo>
                          <a:pt x="206" y="603"/>
                        </a:lnTo>
                        <a:lnTo>
                          <a:pt x="206" y="601"/>
                        </a:lnTo>
                        <a:lnTo>
                          <a:pt x="203" y="596"/>
                        </a:lnTo>
                        <a:lnTo>
                          <a:pt x="203" y="594"/>
                        </a:lnTo>
                        <a:lnTo>
                          <a:pt x="201" y="592"/>
                        </a:lnTo>
                        <a:lnTo>
                          <a:pt x="199" y="589"/>
                        </a:lnTo>
                        <a:lnTo>
                          <a:pt x="187" y="584"/>
                        </a:lnTo>
                        <a:lnTo>
                          <a:pt x="180" y="582"/>
                        </a:lnTo>
                        <a:lnTo>
                          <a:pt x="177" y="580"/>
                        </a:lnTo>
                        <a:lnTo>
                          <a:pt x="175" y="580"/>
                        </a:lnTo>
                        <a:lnTo>
                          <a:pt x="173" y="580"/>
                        </a:lnTo>
                        <a:lnTo>
                          <a:pt x="163" y="584"/>
                        </a:lnTo>
                        <a:lnTo>
                          <a:pt x="161" y="584"/>
                        </a:lnTo>
                        <a:lnTo>
                          <a:pt x="161" y="584"/>
                        </a:lnTo>
                        <a:lnTo>
                          <a:pt x="156" y="582"/>
                        </a:lnTo>
                        <a:lnTo>
                          <a:pt x="154" y="582"/>
                        </a:lnTo>
                        <a:lnTo>
                          <a:pt x="154" y="582"/>
                        </a:lnTo>
                        <a:lnTo>
                          <a:pt x="151" y="582"/>
                        </a:lnTo>
                        <a:lnTo>
                          <a:pt x="147" y="584"/>
                        </a:lnTo>
                        <a:lnTo>
                          <a:pt x="144" y="584"/>
                        </a:lnTo>
                        <a:lnTo>
                          <a:pt x="139" y="584"/>
                        </a:lnTo>
                        <a:lnTo>
                          <a:pt x="139" y="584"/>
                        </a:lnTo>
                        <a:lnTo>
                          <a:pt x="137" y="587"/>
                        </a:lnTo>
                        <a:lnTo>
                          <a:pt x="137" y="587"/>
                        </a:lnTo>
                        <a:lnTo>
                          <a:pt x="137" y="589"/>
                        </a:lnTo>
                        <a:lnTo>
                          <a:pt x="137" y="592"/>
                        </a:lnTo>
                        <a:lnTo>
                          <a:pt x="137" y="594"/>
                        </a:lnTo>
                        <a:lnTo>
                          <a:pt x="137" y="596"/>
                        </a:lnTo>
                        <a:lnTo>
                          <a:pt x="137" y="599"/>
                        </a:lnTo>
                        <a:lnTo>
                          <a:pt x="135" y="599"/>
                        </a:lnTo>
                        <a:lnTo>
                          <a:pt x="135" y="601"/>
                        </a:lnTo>
                        <a:lnTo>
                          <a:pt x="135" y="601"/>
                        </a:lnTo>
                        <a:lnTo>
                          <a:pt x="132" y="601"/>
                        </a:lnTo>
                        <a:lnTo>
                          <a:pt x="130" y="603"/>
                        </a:lnTo>
                        <a:lnTo>
                          <a:pt x="123" y="603"/>
                        </a:lnTo>
                        <a:lnTo>
                          <a:pt x="121" y="603"/>
                        </a:lnTo>
                        <a:lnTo>
                          <a:pt x="121" y="603"/>
                        </a:lnTo>
                        <a:lnTo>
                          <a:pt x="116" y="608"/>
                        </a:lnTo>
                        <a:lnTo>
                          <a:pt x="116" y="611"/>
                        </a:lnTo>
                        <a:lnTo>
                          <a:pt x="113" y="611"/>
                        </a:lnTo>
                        <a:lnTo>
                          <a:pt x="113" y="611"/>
                        </a:lnTo>
                        <a:lnTo>
                          <a:pt x="111" y="611"/>
                        </a:lnTo>
                        <a:lnTo>
                          <a:pt x="109" y="611"/>
                        </a:lnTo>
                        <a:lnTo>
                          <a:pt x="106" y="608"/>
                        </a:lnTo>
                        <a:lnTo>
                          <a:pt x="104" y="608"/>
                        </a:lnTo>
                        <a:lnTo>
                          <a:pt x="104" y="606"/>
                        </a:lnTo>
                        <a:lnTo>
                          <a:pt x="104" y="601"/>
                        </a:lnTo>
                        <a:lnTo>
                          <a:pt x="104" y="599"/>
                        </a:lnTo>
                        <a:lnTo>
                          <a:pt x="102" y="599"/>
                        </a:lnTo>
                        <a:lnTo>
                          <a:pt x="99" y="596"/>
                        </a:lnTo>
                        <a:lnTo>
                          <a:pt x="94" y="596"/>
                        </a:lnTo>
                        <a:lnTo>
                          <a:pt x="94" y="596"/>
                        </a:lnTo>
                        <a:lnTo>
                          <a:pt x="92" y="594"/>
                        </a:lnTo>
                        <a:lnTo>
                          <a:pt x="92" y="594"/>
                        </a:lnTo>
                        <a:lnTo>
                          <a:pt x="87" y="582"/>
                        </a:lnTo>
                        <a:lnTo>
                          <a:pt x="85" y="577"/>
                        </a:lnTo>
                        <a:lnTo>
                          <a:pt x="85" y="577"/>
                        </a:lnTo>
                        <a:lnTo>
                          <a:pt x="85" y="573"/>
                        </a:lnTo>
                        <a:lnTo>
                          <a:pt x="85" y="570"/>
                        </a:lnTo>
                        <a:lnTo>
                          <a:pt x="87" y="566"/>
                        </a:lnTo>
                        <a:lnTo>
                          <a:pt x="87" y="563"/>
                        </a:lnTo>
                        <a:lnTo>
                          <a:pt x="87" y="561"/>
                        </a:lnTo>
                        <a:lnTo>
                          <a:pt x="85" y="558"/>
                        </a:lnTo>
                        <a:lnTo>
                          <a:pt x="83" y="554"/>
                        </a:lnTo>
                        <a:lnTo>
                          <a:pt x="83" y="554"/>
                        </a:lnTo>
                        <a:lnTo>
                          <a:pt x="80" y="551"/>
                        </a:lnTo>
                        <a:lnTo>
                          <a:pt x="80" y="551"/>
                        </a:lnTo>
                        <a:lnTo>
                          <a:pt x="80" y="549"/>
                        </a:lnTo>
                        <a:lnTo>
                          <a:pt x="78" y="544"/>
                        </a:lnTo>
                        <a:lnTo>
                          <a:pt x="78" y="542"/>
                        </a:lnTo>
                        <a:lnTo>
                          <a:pt x="78" y="540"/>
                        </a:lnTo>
                        <a:lnTo>
                          <a:pt x="76" y="540"/>
                        </a:lnTo>
                        <a:lnTo>
                          <a:pt x="71" y="540"/>
                        </a:lnTo>
                        <a:lnTo>
                          <a:pt x="68" y="540"/>
                        </a:lnTo>
                        <a:lnTo>
                          <a:pt x="68" y="537"/>
                        </a:lnTo>
                        <a:lnTo>
                          <a:pt x="66" y="537"/>
                        </a:lnTo>
                        <a:lnTo>
                          <a:pt x="66" y="535"/>
                        </a:lnTo>
                        <a:lnTo>
                          <a:pt x="66" y="535"/>
                        </a:lnTo>
                        <a:lnTo>
                          <a:pt x="64" y="532"/>
                        </a:lnTo>
                        <a:lnTo>
                          <a:pt x="66" y="528"/>
                        </a:lnTo>
                        <a:lnTo>
                          <a:pt x="66" y="523"/>
                        </a:lnTo>
                        <a:lnTo>
                          <a:pt x="68" y="521"/>
                        </a:lnTo>
                        <a:lnTo>
                          <a:pt x="68" y="518"/>
                        </a:lnTo>
                        <a:lnTo>
                          <a:pt x="71" y="516"/>
                        </a:lnTo>
                        <a:lnTo>
                          <a:pt x="73" y="514"/>
                        </a:lnTo>
                        <a:lnTo>
                          <a:pt x="73" y="509"/>
                        </a:lnTo>
                        <a:lnTo>
                          <a:pt x="73" y="499"/>
                        </a:lnTo>
                        <a:lnTo>
                          <a:pt x="76" y="495"/>
                        </a:lnTo>
                        <a:lnTo>
                          <a:pt x="76" y="492"/>
                        </a:lnTo>
                        <a:lnTo>
                          <a:pt x="78" y="490"/>
                        </a:lnTo>
                        <a:lnTo>
                          <a:pt x="85" y="480"/>
                        </a:lnTo>
                        <a:lnTo>
                          <a:pt x="85" y="478"/>
                        </a:lnTo>
                        <a:lnTo>
                          <a:pt x="87" y="478"/>
                        </a:lnTo>
                        <a:lnTo>
                          <a:pt x="87" y="473"/>
                        </a:lnTo>
                        <a:lnTo>
                          <a:pt x="85" y="457"/>
                        </a:lnTo>
                        <a:lnTo>
                          <a:pt x="85" y="447"/>
                        </a:lnTo>
                        <a:lnTo>
                          <a:pt x="85" y="445"/>
                        </a:lnTo>
                        <a:lnTo>
                          <a:pt x="85" y="443"/>
                        </a:lnTo>
                        <a:lnTo>
                          <a:pt x="87" y="435"/>
                        </a:lnTo>
                        <a:lnTo>
                          <a:pt x="90" y="424"/>
                        </a:lnTo>
                        <a:lnTo>
                          <a:pt x="90" y="421"/>
                        </a:lnTo>
                        <a:lnTo>
                          <a:pt x="87" y="417"/>
                        </a:lnTo>
                        <a:lnTo>
                          <a:pt x="85" y="407"/>
                        </a:lnTo>
                        <a:lnTo>
                          <a:pt x="83" y="405"/>
                        </a:lnTo>
                        <a:lnTo>
                          <a:pt x="83" y="400"/>
                        </a:lnTo>
                        <a:lnTo>
                          <a:pt x="83" y="400"/>
                        </a:lnTo>
                        <a:lnTo>
                          <a:pt x="83" y="398"/>
                        </a:lnTo>
                        <a:lnTo>
                          <a:pt x="83" y="395"/>
                        </a:lnTo>
                        <a:lnTo>
                          <a:pt x="83" y="393"/>
                        </a:lnTo>
                        <a:lnTo>
                          <a:pt x="80" y="390"/>
                        </a:lnTo>
                        <a:lnTo>
                          <a:pt x="78" y="388"/>
                        </a:lnTo>
                        <a:lnTo>
                          <a:pt x="66" y="381"/>
                        </a:lnTo>
                        <a:lnTo>
                          <a:pt x="66" y="376"/>
                        </a:lnTo>
                        <a:lnTo>
                          <a:pt x="71" y="369"/>
                        </a:lnTo>
                        <a:lnTo>
                          <a:pt x="73" y="369"/>
                        </a:lnTo>
                        <a:lnTo>
                          <a:pt x="73" y="369"/>
                        </a:lnTo>
                        <a:lnTo>
                          <a:pt x="80" y="369"/>
                        </a:lnTo>
                        <a:lnTo>
                          <a:pt x="85" y="367"/>
                        </a:lnTo>
                        <a:lnTo>
                          <a:pt x="87" y="367"/>
                        </a:lnTo>
                        <a:lnTo>
                          <a:pt x="87" y="364"/>
                        </a:lnTo>
                        <a:lnTo>
                          <a:pt x="90" y="362"/>
                        </a:lnTo>
                        <a:lnTo>
                          <a:pt x="92" y="360"/>
                        </a:lnTo>
                        <a:lnTo>
                          <a:pt x="92" y="357"/>
                        </a:lnTo>
                        <a:lnTo>
                          <a:pt x="94" y="355"/>
                        </a:lnTo>
                        <a:lnTo>
                          <a:pt x="94" y="355"/>
                        </a:lnTo>
                        <a:lnTo>
                          <a:pt x="94" y="353"/>
                        </a:lnTo>
                        <a:lnTo>
                          <a:pt x="92" y="348"/>
                        </a:lnTo>
                        <a:lnTo>
                          <a:pt x="90" y="336"/>
                        </a:lnTo>
                        <a:lnTo>
                          <a:pt x="87" y="331"/>
                        </a:lnTo>
                        <a:lnTo>
                          <a:pt x="87" y="329"/>
                        </a:lnTo>
                        <a:lnTo>
                          <a:pt x="85" y="327"/>
                        </a:lnTo>
                        <a:lnTo>
                          <a:pt x="68" y="320"/>
                        </a:lnTo>
                        <a:lnTo>
                          <a:pt x="61" y="317"/>
                        </a:lnTo>
                        <a:lnTo>
                          <a:pt x="47" y="317"/>
                        </a:lnTo>
                        <a:lnTo>
                          <a:pt x="45" y="317"/>
                        </a:lnTo>
                        <a:lnTo>
                          <a:pt x="42" y="315"/>
                        </a:lnTo>
                        <a:lnTo>
                          <a:pt x="40" y="310"/>
                        </a:lnTo>
                        <a:lnTo>
                          <a:pt x="38" y="308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  <p:sp>
                <p:nvSpPr>
                  <p:cNvPr id="50" name="Freeform 57">
                    <a:extLst>
                      <a:ext uri="{FF2B5EF4-FFF2-40B4-BE49-F238E27FC236}">
                        <a16:creationId xmlns:a16="http://schemas.microsoft.com/office/drawing/2014/main" id="{763FFE7E-121B-4121-BFEF-AA983484B529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5011836" y="1416124"/>
                    <a:ext cx="909723" cy="1015510"/>
                  </a:xfrm>
                  <a:custGeom>
                    <a:avLst/>
                    <a:gdLst>
                      <a:gd name="T0" fmla="*/ 438 w 715"/>
                      <a:gd name="T1" fmla="*/ 28 h 799"/>
                      <a:gd name="T2" fmla="*/ 393 w 715"/>
                      <a:gd name="T3" fmla="*/ 45 h 799"/>
                      <a:gd name="T4" fmla="*/ 355 w 715"/>
                      <a:gd name="T5" fmla="*/ 35 h 799"/>
                      <a:gd name="T6" fmla="*/ 341 w 715"/>
                      <a:gd name="T7" fmla="*/ 80 h 799"/>
                      <a:gd name="T8" fmla="*/ 313 w 715"/>
                      <a:gd name="T9" fmla="*/ 125 h 799"/>
                      <a:gd name="T10" fmla="*/ 291 w 715"/>
                      <a:gd name="T11" fmla="*/ 163 h 799"/>
                      <a:gd name="T12" fmla="*/ 325 w 715"/>
                      <a:gd name="T13" fmla="*/ 196 h 799"/>
                      <a:gd name="T14" fmla="*/ 336 w 715"/>
                      <a:gd name="T15" fmla="*/ 217 h 799"/>
                      <a:gd name="T16" fmla="*/ 336 w 715"/>
                      <a:gd name="T17" fmla="*/ 250 h 799"/>
                      <a:gd name="T18" fmla="*/ 282 w 715"/>
                      <a:gd name="T19" fmla="*/ 291 h 799"/>
                      <a:gd name="T20" fmla="*/ 258 w 715"/>
                      <a:gd name="T21" fmla="*/ 333 h 799"/>
                      <a:gd name="T22" fmla="*/ 223 w 715"/>
                      <a:gd name="T23" fmla="*/ 324 h 799"/>
                      <a:gd name="T24" fmla="*/ 194 w 715"/>
                      <a:gd name="T25" fmla="*/ 364 h 799"/>
                      <a:gd name="T26" fmla="*/ 173 w 715"/>
                      <a:gd name="T27" fmla="*/ 366 h 799"/>
                      <a:gd name="T28" fmla="*/ 150 w 715"/>
                      <a:gd name="T29" fmla="*/ 435 h 799"/>
                      <a:gd name="T30" fmla="*/ 105 w 715"/>
                      <a:gd name="T31" fmla="*/ 468 h 799"/>
                      <a:gd name="T32" fmla="*/ 83 w 715"/>
                      <a:gd name="T33" fmla="*/ 485 h 799"/>
                      <a:gd name="T34" fmla="*/ 62 w 715"/>
                      <a:gd name="T35" fmla="*/ 456 h 799"/>
                      <a:gd name="T36" fmla="*/ 36 w 715"/>
                      <a:gd name="T37" fmla="*/ 449 h 799"/>
                      <a:gd name="T38" fmla="*/ 17 w 715"/>
                      <a:gd name="T39" fmla="*/ 608 h 799"/>
                      <a:gd name="T40" fmla="*/ 45 w 715"/>
                      <a:gd name="T41" fmla="*/ 648 h 799"/>
                      <a:gd name="T42" fmla="*/ 67 w 715"/>
                      <a:gd name="T43" fmla="*/ 650 h 799"/>
                      <a:gd name="T44" fmla="*/ 131 w 715"/>
                      <a:gd name="T45" fmla="*/ 700 h 799"/>
                      <a:gd name="T46" fmla="*/ 150 w 715"/>
                      <a:gd name="T47" fmla="*/ 709 h 799"/>
                      <a:gd name="T48" fmla="*/ 166 w 715"/>
                      <a:gd name="T49" fmla="*/ 721 h 799"/>
                      <a:gd name="T50" fmla="*/ 194 w 715"/>
                      <a:gd name="T51" fmla="*/ 735 h 799"/>
                      <a:gd name="T52" fmla="*/ 301 w 715"/>
                      <a:gd name="T53" fmla="*/ 776 h 799"/>
                      <a:gd name="T54" fmla="*/ 377 w 715"/>
                      <a:gd name="T55" fmla="*/ 752 h 799"/>
                      <a:gd name="T56" fmla="*/ 471 w 715"/>
                      <a:gd name="T57" fmla="*/ 738 h 799"/>
                      <a:gd name="T58" fmla="*/ 509 w 715"/>
                      <a:gd name="T59" fmla="*/ 750 h 799"/>
                      <a:gd name="T60" fmla="*/ 528 w 715"/>
                      <a:gd name="T61" fmla="*/ 752 h 799"/>
                      <a:gd name="T62" fmla="*/ 547 w 715"/>
                      <a:gd name="T63" fmla="*/ 778 h 799"/>
                      <a:gd name="T64" fmla="*/ 568 w 715"/>
                      <a:gd name="T65" fmla="*/ 785 h 799"/>
                      <a:gd name="T66" fmla="*/ 575 w 715"/>
                      <a:gd name="T67" fmla="*/ 761 h 799"/>
                      <a:gd name="T68" fmla="*/ 594 w 715"/>
                      <a:gd name="T69" fmla="*/ 733 h 799"/>
                      <a:gd name="T70" fmla="*/ 575 w 715"/>
                      <a:gd name="T71" fmla="*/ 712 h 799"/>
                      <a:gd name="T72" fmla="*/ 542 w 715"/>
                      <a:gd name="T73" fmla="*/ 700 h 799"/>
                      <a:gd name="T74" fmla="*/ 519 w 715"/>
                      <a:gd name="T75" fmla="*/ 672 h 799"/>
                      <a:gd name="T76" fmla="*/ 504 w 715"/>
                      <a:gd name="T77" fmla="*/ 627 h 799"/>
                      <a:gd name="T78" fmla="*/ 485 w 715"/>
                      <a:gd name="T79" fmla="*/ 598 h 799"/>
                      <a:gd name="T80" fmla="*/ 478 w 715"/>
                      <a:gd name="T81" fmla="*/ 589 h 799"/>
                      <a:gd name="T82" fmla="*/ 483 w 715"/>
                      <a:gd name="T83" fmla="*/ 539 h 799"/>
                      <a:gd name="T84" fmla="*/ 516 w 715"/>
                      <a:gd name="T85" fmla="*/ 489 h 799"/>
                      <a:gd name="T86" fmla="*/ 561 w 715"/>
                      <a:gd name="T87" fmla="*/ 478 h 799"/>
                      <a:gd name="T88" fmla="*/ 554 w 715"/>
                      <a:gd name="T89" fmla="*/ 496 h 799"/>
                      <a:gd name="T90" fmla="*/ 538 w 715"/>
                      <a:gd name="T91" fmla="*/ 499 h 799"/>
                      <a:gd name="T92" fmla="*/ 585 w 715"/>
                      <a:gd name="T93" fmla="*/ 492 h 799"/>
                      <a:gd name="T94" fmla="*/ 689 w 715"/>
                      <a:gd name="T95" fmla="*/ 364 h 799"/>
                      <a:gd name="T96" fmla="*/ 663 w 715"/>
                      <a:gd name="T97" fmla="*/ 338 h 799"/>
                      <a:gd name="T98" fmla="*/ 632 w 715"/>
                      <a:gd name="T99" fmla="*/ 333 h 799"/>
                      <a:gd name="T100" fmla="*/ 618 w 715"/>
                      <a:gd name="T101" fmla="*/ 333 h 799"/>
                      <a:gd name="T102" fmla="*/ 582 w 715"/>
                      <a:gd name="T103" fmla="*/ 359 h 799"/>
                      <a:gd name="T104" fmla="*/ 545 w 715"/>
                      <a:gd name="T105" fmla="*/ 343 h 799"/>
                      <a:gd name="T106" fmla="*/ 504 w 715"/>
                      <a:gd name="T107" fmla="*/ 300 h 799"/>
                      <a:gd name="T108" fmla="*/ 511 w 715"/>
                      <a:gd name="T109" fmla="*/ 241 h 799"/>
                      <a:gd name="T110" fmla="*/ 493 w 715"/>
                      <a:gd name="T111" fmla="*/ 201 h 799"/>
                      <a:gd name="T112" fmla="*/ 469 w 715"/>
                      <a:gd name="T113" fmla="*/ 191 h 799"/>
                      <a:gd name="T114" fmla="*/ 493 w 715"/>
                      <a:gd name="T115" fmla="*/ 116 h 799"/>
                      <a:gd name="T116" fmla="*/ 535 w 715"/>
                      <a:gd name="T117" fmla="*/ 75 h 799"/>
                      <a:gd name="T118" fmla="*/ 556 w 715"/>
                      <a:gd name="T119" fmla="*/ 47 h 799"/>
                      <a:gd name="T120" fmla="*/ 523 w 715"/>
                      <a:gd name="T121" fmla="*/ 0 h 799"/>
                      <a:gd name="T122" fmla="*/ 521 w 715"/>
                      <a:gd name="T123" fmla="*/ 534 h 7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  <a:cxn ang="0">
                        <a:pos x="T122" y="T123"/>
                      </a:cxn>
                    </a:cxnLst>
                    <a:rect l="0" t="0" r="r" b="b"/>
                    <a:pathLst>
                      <a:path w="715" h="799">
                        <a:moveTo>
                          <a:pt x="455" y="9"/>
                        </a:moveTo>
                        <a:lnTo>
                          <a:pt x="455" y="9"/>
                        </a:lnTo>
                        <a:lnTo>
                          <a:pt x="455" y="11"/>
                        </a:lnTo>
                        <a:lnTo>
                          <a:pt x="452" y="14"/>
                        </a:lnTo>
                        <a:lnTo>
                          <a:pt x="452" y="14"/>
                        </a:lnTo>
                        <a:lnTo>
                          <a:pt x="448" y="19"/>
                        </a:lnTo>
                        <a:lnTo>
                          <a:pt x="445" y="21"/>
                        </a:lnTo>
                        <a:lnTo>
                          <a:pt x="445" y="21"/>
                        </a:lnTo>
                        <a:lnTo>
                          <a:pt x="445" y="26"/>
                        </a:lnTo>
                        <a:lnTo>
                          <a:pt x="445" y="26"/>
                        </a:lnTo>
                        <a:lnTo>
                          <a:pt x="445" y="28"/>
                        </a:lnTo>
                        <a:lnTo>
                          <a:pt x="443" y="28"/>
                        </a:lnTo>
                        <a:lnTo>
                          <a:pt x="441" y="28"/>
                        </a:lnTo>
                        <a:lnTo>
                          <a:pt x="438" y="28"/>
                        </a:lnTo>
                        <a:lnTo>
                          <a:pt x="436" y="28"/>
                        </a:lnTo>
                        <a:lnTo>
                          <a:pt x="436" y="26"/>
                        </a:lnTo>
                        <a:lnTo>
                          <a:pt x="433" y="26"/>
                        </a:lnTo>
                        <a:lnTo>
                          <a:pt x="433" y="26"/>
                        </a:lnTo>
                        <a:lnTo>
                          <a:pt x="431" y="26"/>
                        </a:lnTo>
                        <a:lnTo>
                          <a:pt x="429" y="28"/>
                        </a:lnTo>
                        <a:lnTo>
                          <a:pt x="426" y="30"/>
                        </a:lnTo>
                        <a:lnTo>
                          <a:pt x="424" y="33"/>
                        </a:lnTo>
                        <a:lnTo>
                          <a:pt x="422" y="33"/>
                        </a:lnTo>
                        <a:lnTo>
                          <a:pt x="407" y="37"/>
                        </a:lnTo>
                        <a:lnTo>
                          <a:pt x="403" y="40"/>
                        </a:lnTo>
                        <a:lnTo>
                          <a:pt x="398" y="45"/>
                        </a:lnTo>
                        <a:lnTo>
                          <a:pt x="396" y="47"/>
                        </a:lnTo>
                        <a:lnTo>
                          <a:pt x="393" y="45"/>
                        </a:lnTo>
                        <a:lnTo>
                          <a:pt x="393" y="42"/>
                        </a:lnTo>
                        <a:lnTo>
                          <a:pt x="393" y="40"/>
                        </a:lnTo>
                        <a:lnTo>
                          <a:pt x="384" y="30"/>
                        </a:lnTo>
                        <a:lnTo>
                          <a:pt x="384" y="30"/>
                        </a:lnTo>
                        <a:lnTo>
                          <a:pt x="381" y="30"/>
                        </a:lnTo>
                        <a:lnTo>
                          <a:pt x="374" y="28"/>
                        </a:lnTo>
                        <a:lnTo>
                          <a:pt x="372" y="28"/>
                        </a:lnTo>
                        <a:lnTo>
                          <a:pt x="360" y="21"/>
                        </a:lnTo>
                        <a:lnTo>
                          <a:pt x="358" y="21"/>
                        </a:lnTo>
                        <a:lnTo>
                          <a:pt x="358" y="21"/>
                        </a:lnTo>
                        <a:lnTo>
                          <a:pt x="355" y="23"/>
                        </a:lnTo>
                        <a:lnTo>
                          <a:pt x="355" y="26"/>
                        </a:lnTo>
                        <a:lnTo>
                          <a:pt x="355" y="28"/>
                        </a:lnTo>
                        <a:lnTo>
                          <a:pt x="355" y="35"/>
                        </a:lnTo>
                        <a:lnTo>
                          <a:pt x="355" y="37"/>
                        </a:lnTo>
                        <a:lnTo>
                          <a:pt x="355" y="45"/>
                        </a:lnTo>
                        <a:lnTo>
                          <a:pt x="353" y="49"/>
                        </a:lnTo>
                        <a:lnTo>
                          <a:pt x="353" y="56"/>
                        </a:lnTo>
                        <a:lnTo>
                          <a:pt x="348" y="61"/>
                        </a:lnTo>
                        <a:lnTo>
                          <a:pt x="348" y="64"/>
                        </a:lnTo>
                        <a:lnTo>
                          <a:pt x="348" y="66"/>
                        </a:lnTo>
                        <a:lnTo>
                          <a:pt x="348" y="71"/>
                        </a:lnTo>
                        <a:lnTo>
                          <a:pt x="348" y="73"/>
                        </a:lnTo>
                        <a:lnTo>
                          <a:pt x="348" y="73"/>
                        </a:lnTo>
                        <a:lnTo>
                          <a:pt x="346" y="75"/>
                        </a:lnTo>
                        <a:lnTo>
                          <a:pt x="346" y="75"/>
                        </a:lnTo>
                        <a:lnTo>
                          <a:pt x="346" y="78"/>
                        </a:lnTo>
                        <a:lnTo>
                          <a:pt x="341" y="80"/>
                        </a:lnTo>
                        <a:lnTo>
                          <a:pt x="299" y="94"/>
                        </a:lnTo>
                        <a:lnTo>
                          <a:pt x="294" y="101"/>
                        </a:lnTo>
                        <a:lnTo>
                          <a:pt x="296" y="108"/>
                        </a:lnTo>
                        <a:lnTo>
                          <a:pt x="299" y="111"/>
                        </a:lnTo>
                        <a:lnTo>
                          <a:pt x="306" y="111"/>
                        </a:lnTo>
                        <a:lnTo>
                          <a:pt x="310" y="113"/>
                        </a:lnTo>
                        <a:lnTo>
                          <a:pt x="313" y="113"/>
                        </a:lnTo>
                        <a:lnTo>
                          <a:pt x="313" y="116"/>
                        </a:lnTo>
                        <a:lnTo>
                          <a:pt x="313" y="116"/>
                        </a:lnTo>
                        <a:lnTo>
                          <a:pt x="315" y="118"/>
                        </a:lnTo>
                        <a:lnTo>
                          <a:pt x="315" y="118"/>
                        </a:lnTo>
                        <a:lnTo>
                          <a:pt x="315" y="120"/>
                        </a:lnTo>
                        <a:lnTo>
                          <a:pt x="313" y="123"/>
                        </a:lnTo>
                        <a:lnTo>
                          <a:pt x="313" y="125"/>
                        </a:lnTo>
                        <a:lnTo>
                          <a:pt x="310" y="127"/>
                        </a:lnTo>
                        <a:lnTo>
                          <a:pt x="308" y="130"/>
                        </a:lnTo>
                        <a:lnTo>
                          <a:pt x="308" y="130"/>
                        </a:lnTo>
                        <a:lnTo>
                          <a:pt x="306" y="132"/>
                        </a:lnTo>
                        <a:lnTo>
                          <a:pt x="306" y="134"/>
                        </a:lnTo>
                        <a:lnTo>
                          <a:pt x="306" y="137"/>
                        </a:lnTo>
                        <a:lnTo>
                          <a:pt x="306" y="151"/>
                        </a:lnTo>
                        <a:lnTo>
                          <a:pt x="306" y="151"/>
                        </a:lnTo>
                        <a:lnTo>
                          <a:pt x="303" y="153"/>
                        </a:lnTo>
                        <a:lnTo>
                          <a:pt x="299" y="153"/>
                        </a:lnTo>
                        <a:lnTo>
                          <a:pt x="299" y="156"/>
                        </a:lnTo>
                        <a:lnTo>
                          <a:pt x="294" y="161"/>
                        </a:lnTo>
                        <a:lnTo>
                          <a:pt x="294" y="161"/>
                        </a:lnTo>
                        <a:lnTo>
                          <a:pt x="291" y="163"/>
                        </a:lnTo>
                        <a:lnTo>
                          <a:pt x="294" y="165"/>
                        </a:lnTo>
                        <a:lnTo>
                          <a:pt x="294" y="168"/>
                        </a:lnTo>
                        <a:lnTo>
                          <a:pt x="296" y="170"/>
                        </a:lnTo>
                        <a:lnTo>
                          <a:pt x="308" y="179"/>
                        </a:lnTo>
                        <a:lnTo>
                          <a:pt x="310" y="182"/>
                        </a:lnTo>
                        <a:lnTo>
                          <a:pt x="310" y="182"/>
                        </a:lnTo>
                        <a:lnTo>
                          <a:pt x="310" y="184"/>
                        </a:lnTo>
                        <a:lnTo>
                          <a:pt x="310" y="187"/>
                        </a:lnTo>
                        <a:lnTo>
                          <a:pt x="313" y="194"/>
                        </a:lnTo>
                        <a:lnTo>
                          <a:pt x="313" y="196"/>
                        </a:lnTo>
                        <a:lnTo>
                          <a:pt x="313" y="196"/>
                        </a:lnTo>
                        <a:lnTo>
                          <a:pt x="315" y="198"/>
                        </a:lnTo>
                        <a:lnTo>
                          <a:pt x="317" y="196"/>
                        </a:lnTo>
                        <a:lnTo>
                          <a:pt x="325" y="196"/>
                        </a:lnTo>
                        <a:lnTo>
                          <a:pt x="325" y="196"/>
                        </a:lnTo>
                        <a:lnTo>
                          <a:pt x="327" y="196"/>
                        </a:lnTo>
                        <a:lnTo>
                          <a:pt x="327" y="198"/>
                        </a:lnTo>
                        <a:lnTo>
                          <a:pt x="329" y="201"/>
                        </a:lnTo>
                        <a:lnTo>
                          <a:pt x="329" y="201"/>
                        </a:lnTo>
                        <a:lnTo>
                          <a:pt x="332" y="201"/>
                        </a:lnTo>
                        <a:lnTo>
                          <a:pt x="334" y="203"/>
                        </a:lnTo>
                        <a:lnTo>
                          <a:pt x="336" y="203"/>
                        </a:lnTo>
                        <a:lnTo>
                          <a:pt x="336" y="203"/>
                        </a:lnTo>
                        <a:lnTo>
                          <a:pt x="336" y="203"/>
                        </a:lnTo>
                        <a:lnTo>
                          <a:pt x="336" y="210"/>
                        </a:lnTo>
                        <a:lnTo>
                          <a:pt x="336" y="213"/>
                        </a:lnTo>
                        <a:lnTo>
                          <a:pt x="336" y="215"/>
                        </a:lnTo>
                        <a:lnTo>
                          <a:pt x="336" y="217"/>
                        </a:lnTo>
                        <a:lnTo>
                          <a:pt x="339" y="217"/>
                        </a:lnTo>
                        <a:lnTo>
                          <a:pt x="341" y="220"/>
                        </a:lnTo>
                        <a:lnTo>
                          <a:pt x="351" y="222"/>
                        </a:lnTo>
                        <a:lnTo>
                          <a:pt x="351" y="224"/>
                        </a:lnTo>
                        <a:lnTo>
                          <a:pt x="353" y="224"/>
                        </a:lnTo>
                        <a:lnTo>
                          <a:pt x="353" y="227"/>
                        </a:lnTo>
                        <a:lnTo>
                          <a:pt x="353" y="227"/>
                        </a:lnTo>
                        <a:lnTo>
                          <a:pt x="353" y="229"/>
                        </a:lnTo>
                        <a:lnTo>
                          <a:pt x="351" y="231"/>
                        </a:lnTo>
                        <a:lnTo>
                          <a:pt x="346" y="234"/>
                        </a:lnTo>
                        <a:lnTo>
                          <a:pt x="346" y="236"/>
                        </a:lnTo>
                        <a:lnTo>
                          <a:pt x="344" y="239"/>
                        </a:lnTo>
                        <a:lnTo>
                          <a:pt x="339" y="248"/>
                        </a:lnTo>
                        <a:lnTo>
                          <a:pt x="336" y="250"/>
                        </a:lnTo>
                        <a:lnTo>
                          <a:pt x="336" y="253"/>
                        </a:lnTo>
                        <a:lnTo>
                          <a:pt x="336" y="255"/>
                        </a:lnTo>
                        <a:lnTo>
                          <a:pt x="332" y="258"/>
                        </a:lnTo>
                        <a:lnTo>
                          <a:pt x="320" y="262"/>
                        </a:lnTo>
                        <a:lnTo>
                          <a:pt x="315" y="267"/>
                        </a:lnTo>
                        <a:lnTo>
                          <a:pt x="313" y="269"/>
                        </a:lnTo>
                        <a:lnTo>
                          <a:pt x="308" y="269"/>
                        </a:lnTo>
                        <a:lnTo>
                          <a:pt x="294" y="272"/>
                        </a:lnTo>
                        <a:lnTo>
                          <a:pt x="284" y="276"/>
                        </a:lnTo>
                        <a:lnTo>
                          <a:pt x="282" y="276"/>
                        </a:lnTo>
                        <a:lnTo>
                          <a:pt x="282" y="279"/>
                        </a:lnTo>
                        <a:lnTo>
                          <a:pt x="282" y="284"/>
                        </a:lnTo>
                        <a:lnTo>
                          <a:pt x="282" y="288"/>
                        </a:lnTo>
                        <a:lnTo>
                          <a:pt x="282" y="291"/>
                        </a:lnTo>
                        <a:lnTo>
                          <a:pt x="284" y="293"/>
                        </a:lnTo>
                        <a:lnTo>
                          <a:pt x="284" y="295"/>
                        </a:lnTo>
                        <a:lnTo>
                          <a:pt x="284" y="295"/>
                        </a:lnTo>
                        <a:lnTo>
                          <a:pt x="284" y="298"/>
                        </a:lnTo>
                        <a:lnTo>
                          <a:pt x="282" y="302"/>
                        </a:lnTo>
                        <a:lnTo>
                          <a:pt x="280" y="305"/>
                        </a:lnTo>
                        <a:lnTo>
                          <a:pt x="280" y="307"/>
                        </a:lnTo>
                        <a:lnTo>
                          <a:pt x="280" y="319"/>
                        </a:lnTo>
                        <a:lnTo>
                          <a:pt x="284" y="326"/>
                        </a:lnTo>
                        <a:lnTo>
                          <a:pt x="275" y="331"/>
                        </a:lnTo>
                        <a:lnTo>
                          <a:pt x="270" y="333"/>
                        </a:lnTo>
                        <a:lnTo>
                          <a:pt x="263" y="333"/>
                        </a:lnTo>
                        <a:lnTo>
                          <a:pt x="261" y="333"/>
                        </a:lnTo>
                        <a:lnTo>
                          <a:pt x="258" y="333"/>
                        </a:lnTo>
                        <a:lnTo>
                          <a:pt x="258" y="331"/>
                        </a:lnTo>
                        <a:lnTo>
                          <a:pt x="256" y="331"/>
                        </a:lnTo>
                        <a:lnTo>
                          <a:pt x="256" y="328"/>
                        </a:lnTo>
                        <a:lnTo>
                          <a:pt x="254" y="324"/>
                        </a:lnTo>
                        <a:lnTo>
                          <a:pt x="254" y="324"/>
                        </a:lnTo>
                        <a:lnTo>
                          <a:pt x="251" y="321"/>
                        </a:lnTo>
                        <a:lnTo>
                          <a:pt x="249" y="319"/>
                        </a:lnTo>
                        <a:lnTo>
                          <a:pt x="247" y="319"/>
                        </a:lnTo>
                        <a:lnTo>
                          <a:pt x="247" y="319"/>
                        </a:lnTo>
                        <a:lnTo>
                          <a:pt x="244" y="319"/>
                        </a:lnTo>
                        <a:lnTo>
                          <a:pt x="244" y="319"/>
                        </a:lnTo>
                        <a:lnTo>
                          <a:pt x="239" y="319"/>
                        </a:lnTo>
                        <a:lnTo>
                          <a:pt x="225" y="321"/>
                        </a:lnTo>
                        <a:lnTo>
                          <a:pt x="223" y="324"/>
                        </a:lnTo>
                        <a:lnTo>
                          <a:pt x="211" y="336"/>
                        </a:lnTo>
                        <a:lnTo>
                          <a:pt x="204" y="338"/>
                        </a:lnTo>
                        <a:lnTo>
                          <a:pt x="199" y="340"/>
                        </a:lnTo>
                        <a:lnTo>
                          <a:pt x="197" y="340"/>
                        </a:lnTo>
                        <a:lnTo>
                          <a:pt x="197" y="343"/>
                        </a:lnTo>
                        <a:lnTo>
                          <a:pt x="194" y="347"/>
                        </a:lnTo>
                        <a:lnTo>
                          <a:pt x="197" y="347"/>
                        </a:lnTo>
                        <a:lnTo>
                          <a:pt x="197" y="350"/>
                        </a:lnTo>
                        <a:lnTo>
                          <a:pt x="197" y="352"/>
                        </a:lnTo>
                        <a:lnTo>
                          <a:pt x="199" y="355"/>
                        </a:lnTo>
                        <a:lnTo>
                          <a:pt x="197" y="357"/>
                        </a:lnTo>
                        <a:lnTo>
                          <a:pt x="197" y="359"/>
                        </a:lnTo>
                        <a:lnTo>
                          <a:pt x="194" y="359"/>
                        </a:lnTo>
                        <a:lnTo>
                          <a:pt x="194" y="364"/>
                        </a:lnTo>
                        <a:lnTo>
                          <a:pt x="192" y="366"/>
                        </a:lnTo>
                        <a:lnTo>
                          <a:pt x="190" y="366"/>
                        </a:lnTo>
                        <a:lnTo>
                          <a:pt x="187" y="366"/>
                        </a:lnTo>
                        <a:lnTo>
                          <a:pt x="187" y="366"/>
                        </a:lnTo>
                        <a:lnTo>
                          <a:pt x="185" y="364"/>
                        </a:lnTo>
                        <a:lnTo>
                          <a:pt x="183" y="364"/>
                        </a:lnTo>
                        <a:lnTo>
                          <a:pt x="183" y="364"/>
                        </a:lnTo>
                        <a:lnTo>
                          <a:pt x="183" y="362"/>
                        </a:lnTo>
                        <a:lnTo>
                          <a:pt x="180" y="362"/>
                        </a:lnTo>
                        <a:lnTo>
                          <a:pt x="180" y="362"/>
                        </a:lnTo>
                        <a:lnTo>
                          <a:pt x="178" y="362"/>
                        </a:lnTo>
                        <a:lnTo>
                          <a:pt x="178" y="362"/>
                        </a:lnTo>
                        <a:lnTo>
                          <a:pt x="176" y="364"/>
                        </a:lnTo>
                        <a:lnTo>
                          <a:pt x="173" y="366"/>
                        </a:lnTo>
                        <a:lnTo>
                          <a:pt x="168" y="371"/>
                        </a:lnTo>
                        <a:lnTo>
                          <a:pt x="168" y="373"/>
                        </a:lnTo>
                        <a:lnTo>
                          <a:pt x="166" y="376"/>
                        </a:lnTo>
                        <a:lnTo>
                          <a:pt x="166" y="381"/>
                        </a:lnTo>
                        <a:lnTo>
                          <a:pt x="166" y="388"/>
                        </a:lnTo>
                        <a:lnTo>
                          <a:pt x="152" y="421"/>
                        </a:lnTo>
                        <a:lnTo>
                          <a:pt x="152" y="421"/>
                        </a:lnTo>
                        <a:lnTo>
                          <a:pt x="152" y="423"/>
                        </a:lnTo>
                        <a:lnTo>
                          <a:pt x="154" y="428"/>
                        </a:lnTo>
                        <a:lnTo>
                          <a:pt x="154" y="428"/>
                        </a:lnTo>
                        <a:lnTo>
                          <a:pt x="154" y="430"/>
                        </a:lnTo>
                        <a:lnTo>
                          <a:pt x="152" y="433"/>
                        </a:lnTo>
                        <a:lnTo>
                          <a:pt x="150" y="433"/>
                        </a:lnTo>
                        <a:lnTo>
                          <a:pt x="150" y="435"/>
                        </a:lnTo>
                        <a:lnTo>
                          <a:pt x="150" y="437"/>
                        </a:lnTo>
                        <a:lnTo>
                          <a:pt x="152" y="442"/>
                        </a:lnTo>
                        <a:lnTo>
                          <a:pt x="152" y="442"/>
                        </a:lnTo>
                        <a:lnTo>
                          <a:pt x="152" y="444"/>
                        </a:lnTo>
                        <a:lnTo>
                          <a:pt x="142" y="466"/>
                        </a:lnTo>
                        <a:lnTo>
                          <a:pt x="138" y="470"/>
                        </a:lnTo>
                        <a:lnTo>
                          <a:pt x="133" y="470"/>
                        </a:lnTo>
                        <a:lnTo>
                          <a:pt x="119" y="468"/>
                        </a:lnTo>
                        <a:lnTo>
                          <a:pt x="116" y="468"/>
                        </a:lnTo>
                        <a:lnTo>
                          <a:pt x="116" y="468"/>
                        </a:lnTo>
                        <a:lnTo>
                          <a:pt x="112" y="468"/>
                        </a:lnTo>
                        <a:lnTo>
                          <a:pt x="109" y="468"/>
                        </a:lnTo>
                        <a:lnTo>
                          <a:pt x="109" y="468"/>
                        </a:lnTo>
                        <a:lnTo>
                          <a:pt x="105" y="468"/>
                        </a:lnTo>
                        <a:lnTo>
                          <a:pt x="102" y="468"/>
                        </a:lnTo>
                        <a:lnTo>
                          <a:pt x="102" y="470"/>
                        </a:lnTo>
                        <a:lnTo>
                          <a:pt x="100" y="475"/>
                        </a:lnTo>
                        <a:lnTo>
                          <a:pt x="97" y="478"/>
                        </a:lnTo>
                        <a:lnTo>
                          <a:pt x="97" y="478"/>
                        </a:lnTo>
                        <a:lnTo>
                          <a:pt x="95" y="480"/>
                        </a:lnTo>
                        <a:lnTo>
                          <a:pt x="95" y="480"/>
                        </a:lnTo>
                        <a:lnTo>
                          <a:pt x="90" y="478"/>
                        </a:lnTo>
                        <a:lnTo>
                          <a:pt x="88" y="480"/>
                        </a:lnTo>
                        <a:lnTo>
                          <a:pt x="88" y="480"/>
                        </a:lnTo>
                        <a:lnTo>
                          <a:pt x="86" y="482"/>
                        </a:lnTo>
                        <a:lnTo>
                          <a:pt x="86" y="485"/>
                        </a:lnTo>
                        <a:lnTo>
                          <a:pt x="86" y="485"/>
                        </a:lnTo>
                        <a:lnTo>
                          <a:pt x="83" y="485"/>
                        </a:lnTo>
                        <a:lnTo>
                          <a:pt x="81" y="485"/>
                        </a:lnTo>
                        <a:lnTo>
                          <a:pt x="79" y="485"/>
                        </a:lnTo>
                        <a:lnTo>
                          <a:pt x="76" y="482"/>
                        </a:lnTo>
                        <a:lnTo>
                          <a:pt x="71" y="475"/>
                        </a:lnTo>
                        <a:lnTo>
                          <a:pt x="69" y="473"/>
                        </a:lnTo>
                        <a:lnTo>
                          <a:pt x="67" y="473"/>
                        </a:lnTo>
                        <a:lnTo>
                          <a:pt x="64" y="473"/>
                        </a:lnTo>
                        <a:lnTo>
                          <a:pt x="62" y="473"/>
                        </a:lnTo>
                        <a:lnTo>
                          <a:pt x="62" y="470"/>
                        </a:lnTo>
                        <a:lnTo>
                          <a:pt x="62" y="468"/>
                        </a:lnTo>
                        <a:lnTo>
                          <a:pt x="62" y="459"/>
                        </a:lnTo>
                        <a:lnTo>
                          <a:pt x="62" y="459"/>
                        </a:lnTo>
                        <a:lnTo>
                          <a:pt x="62" y="456"/>
                        </a:lnTo>
                        <a:lnTo>
                          <a:pt x="62" y="456"/>
                        </a:lnTo>
                        <a:lnTo>
                          <a:pt x="62" y="454"/>
                        </a:lnTo>
                        <a:lnTo>
                          <a:pt x="62" y="452"/>
                        </a:lnTo>
                        <a:lnTo>
                          <a:pt x="62" y="452"/>
                        </a:lnTo>
                        <a:lnTo>
                          <a:pt x="67" y="447"/>
                        </a:lnTo>
                        <a:lnTo>
                          <a:pt x="67" y="444"/>
                        </a:lnTo>
                        <a:lnTo>
                          <a:pt x="67" y="444"/>
                        </a:lnTo>
                        <a:lnTo>
                          <a:pt x="67" y="442"/>
                        </a:lnTo>
                        <a:lnTo>
                          <a:pt x="64" y="437"/>
                        </a:lnTo>
                        <a:lnTo>
                          <a:pt x="64" y="435"/>
                        </a:lnTo>
                        <a:lnTo>
                          <a:pt x="62" y="433"/>
                        </a:lnTo>
                        <a:lnTo>
                          <a:pt x="60" y="430"/>
                        </a:lnTo>
                        <a:lnTo>
                          <a:pt x="48" y="425"/>
                        </a:lnTo>
                        <a:lnTo>
                          <a:pt x="38" y="444"/>
                        </a:lnTo>
                        <a:lnTo>
                          <a:pt x="36" y="449"/>
                        </a:lnTo>
                        <a:lnTo>
                          <a:pt x="34" y="461"/>
                        </a:lnTo>
                        <a:lnTo>
                          <a:pt x="29" y="473"/>
                        </a:lnTo>
                        <a:lnTo>
                          <a:pt x="24" y="478"/>
                        </a:lnTo>
                        <a:lnTo>
                          <a:pt x="0" y="527"/>
                        </a:lnTo>
                        <a:lnTo>
                          <a:pt x="0" y="534"/>
                        </a:lnTo>
                        <a:lnTo>
                          <a:pt x="3" y="546"/>
                        </a:lnTo>
                        <a:lnTo>
                          <a:pt x="10" y="575"/>
                        </a:lnTo>
                        <a:lnTo>
                          <a:pt x="12" y="591"/>
                        </a:lnTo>
                        <a:lnTo>
                          <a:pt x="10" y="591"/>
                        </a:lnTo>
                        <a:lnTo>
                          <a:pt x="10" y="593"/>
                        </a:lnTo>
                        <a:lnTo>
                          <a:pt x="10" y="596"/>
                        </a:lnTo>
                        <a:lnTo>
                          <a:pt x="12" y="598"/>
                        </a:lnTo>
                        <a:lnTo>
                          <a:pt x="12" y="603"/>
                        </a:lnTo>
                        <a:lnTo>
                          <a:pt x="17" y="608"/>
                        </a:lnTo>
                        <a:lnTo>
                          <a:pt x="24" y="605"/>
                        </a:lnTo>
                        <a:lnTo>
                          <a:pt x="29" y="605"/>
                        </a:lnTo>
                        <a:lnTo>
                          <a:pt x="31" y="612"/>
                        </a:lnTo>
                        <a:lnTo>
                          <a:pt x="31" y="622"/>
                        </a:lnTo>
                        <a:lnTo>
                          <a:pt x="34" y="624"/>
                        </a:lnTo>
                        <a:lnTo>
                          <a:pt x="36" y="627"/>
                        </a:lnTo>
                        <a:lnTo>
                          <a:pt x="36" y="629"/>
                        </a:lnTo>
                        <a:lnTo>
                          <a:pt x="34" y="634"/>
                        </a:lnTo>
                        <a:lnTo>
                          <a:pt x="36" y="643"/>
                        </a:lnTo>
                        <a:lnTo>
                          <a:pt x="34" y="648"/>
                        </a:lnTo>
                        <a:lnTo>
                          <a:pt x="41" y="648"/>
                        </a:lnTo>
                        <a:lnTo>
                          <a:pt x="43" y="648"/>
                        </a:lnTo>
                        <a:lnTo>
                          <a:pt x="45" y="648"/>
                        </a:lnTo>
                        <a:lnTo>
                          <a:pt x="45" y="648"/>
                        </a:lnTo>
                        <a:lnTo>
                          <a:pt x="48" y="650"/>
                        </a:lnTo>
                        <a:lnTo>
                          <a:pt x="50" y="653"/>
                        </a:lnTo>
                        <a:lnTo>
                          <a:pt x="50" y="655"/>
                        </a:lnTo>
                        <a:lnTo>
                          <a:pt x="50" y="655"/>
                        </a:lnTo>
                        <a:lnTo>
                          <a:pt x="52" y="657"/>
                        </a:lnTo>
                        <a:lnTo>
                          <a:pt x="52" y="657"/>
                        </a:lnTo>
                        <a:lnTo>
                          <a:pt x="55" y="655"/>
                        </a:lnTo>
                        <a:lnTo>
                          <a:pt x="57" y="655"/>
                        </a:lnTo>
                        <a:lnTo>
                          <a:pt x="57" y="653"/>
                        </a:lnTo>
                        <a:lnTo>
                          <a:pt x="57" y="650"/>
                        </a:lnTo>
                        <a:lnTo>
                          <a:pt x="60" y="650"/>
                        </a:lnTo>
                        <a:lnTo>
                          <a:pt x="60" y="650"/>
                        </a:lnTo>
                        <a:lnTo>
                          <a:pt x="62" y="650"/>
                        </a:lnTo>
                        <a:lnTo>
                          <a:pt x="67" y="650"/>
                        </a:lnTo>
                        <a:lnTo>
                          <a:pt x="76" y="660"/>
                        </a:lnTo>
                        <a:lnTo>
                          <a:pt x="79" y="662"/>
                        </a:lnTo>
                        <a:lnTo>
                          <a:pt x="81" y="664"/>
                        </a:lnTo>
                        <a:lnTo>
                          <a:pt x="81" y="667"/>
                        </a:lnTo>
                        <a:lnTo>
                          <a:pt x="114" y="686"/>
                        </a:lnTo>
                        <a:lnTo>
                          <a:pt x="123" y="688"/>
                        </a:lnTo>
                        <a:lnTo>
                          <a:pt x="126" y="688"/>
                        </a:lnTo>
                        <a:lnTo>
                          <a:pt x="128" y="690"/>
                        </a:lnTo>
                        <a:lnTo>
                          <a:pt x="131" y="693"/>
                        </a:lnTo>
                        <a:lnTo>
                          <a:pt x="131" y="693"/>
                        </a:lnTo>
                        <a:lnTo>
                          <a:pt x="133" y="695"/>
                        </a:lnTo>
                        <a:lnTo>
                          <a:pt x="133" y="695"/>
                        </a:lnTo>
                        <a:lnTo>
                          <a:pt x="133" y="698"/>
                        </a:lnTo>
                        <a:lnTo>
                          <a:pt x="131" y="700"/>
                        </a:lnTo>
                        <a:lnTo>
                          <a:pt x="131" y="702"/>
                        </a:lnTo>
                        <a:lnTo>
                          <a:pt x="131" y="702"/>
                        </a:lnTo>
                        <a:lnTo>
                          <a:pt x="131" y="705"/>
                        </a:lnTo>
                        <a:lnTo>
                          <a:pt x="133" y="705"/>
                        </a:lnTo>
                        <a:lnTo>
                          <a:pt x="133" y="705"/>
                        </a:lnTo>
                        <a:lnTo>
                          <a:pt x="135" y="707"/>
                        </a:lnTo>
                        <a:lnTo>
                          <a:pt x="135" y="707"/>
                        </a:lnTo>
                        <a:lnTo>
                          <a:pt x="140" y="707"/>
                        </a:lnTo>
                        <a:lnTo>
                          <a:pt x="145" y="705"/>
                        </a:lnTo>
                        <a:lnTo>
                          <a:pt x="145" y="705"/>
                        </a:lnTo>
                        <a:lnTo>
                          <a:pt x="147" y="705"/>
                        </a:lnTo>
                        <a:lnTo>
                          <a:pt x="150" y="707"/>
                        </a:lnTo>
                        <a:lnTo>
                          <a:pt x="150" y="709"/>
                        </a:lnTo>
                        <a:lnTo>
                          <a:pt x="150" y="709"/>
                        </a:lnTo>
                        <a:lnTo>
                          <a:pt x="147" y="714"/>
                        </a:lnTo>
                        <a:lnTo>
                          <a:pt x="147" y="714"/>
                        </a:lnTo>
                        <a:lnTo>
                          <a:pt x="147" y="716"/>
                        </a:lnTo>
                        <a:lnTo>
                          <a:pt x="147" y="716"/>
                        </a:lnTo>
                        <a:lnTo>
                          <a:pt x="150" y="719"/>
                        </a:lnTo>
                        <a:lnTo>
                          <a:pt x="150" y="719"/>
                        </a:lnTo>
                        <a:lnTo>
                          <a:pt x="154" y="724"/>
                        </a:lnTo>
                        <a:lnTo>
                          <a:pt x="157" y="726"/>
                        </a:lnTo>
                        <a:lnTo>
                          <a:pt x="159" y="726"/>
                        </a:lnTo>
                        <a:lnTo>
                          <a:pt x="161" y="726"/>
                        </a:lnTo>
                        <a:lnTo>
                          <a:pt x="161" y="726"/>
                        </a:lnTo>
                        <a:lnTo>
                          <a:pt x="164" y="724"/>
                        </a:lnTo>
                        <a:lnTo>
                          <a:pt x="166" y="721"/>
                        </a:lnTo>
                        <a:lnTo>
                          <a:pt x="166" y="721"/>
                        </a:lnTo>
                        <a:lnTo>
                          <a:pt x="166" y="719"/>
                        </a:lnTo>
                        <a:lnTo>
                          <a:pt x="176" y="719"/>
                        </a:lnTo>
                        <a:lnTo>
                          <a:pt x="178" y="716"/>
                        </a:lnTo>
                        <a:lnTo>
                          <a:pt x="178" y="716"/>
                        </a:lnTo>
                        <a:lnTo>
                          <a:pt x="180" y="714"/>
                        </a:lnTo>
                        <a:lnTo>
                          <a:pt x="183" y="714"/>
                        </a:lnTo>
                        <a:lnTo>
                          <a:pt x="185" y="714"/>
                        </a:lnTo>
                        <a:lnTo>
                          <a:pt x="194" y="716"/>
                        </a:lnTo>
                        <a:lnTo>
                          <a:pt x="197" y="719"/>
                        </a:lnTo>
                        <a:lnTo>
                          <a:pt x="194" y="724"/>
                        </a:lnTo>
                        <a:lnTo>
                          <a:pt x="192" y="724"/>
                        </a:lnTo>
                        <a:lnTo>
                          <a:pt x="192" y="726"/>
                        </a:lnTo>
                        <a:lnTo>
                          <a:pt x="192" y="726"/>
                        </a:lnTo>
                        <a:lnTo>
                          <a:pt x="194" y="735"/>
                        </a:lnTo>
                        <a:lnTo>
                          <a:pt x="194" y="735"/>
                        </a:lnTo>
                        <a:lnTo>
                          <a:pt x="202" y="738"/>
                        </a:lnTo>
                        <a:lnTo>
                          <a:pt x="218" y="735"/>
                        </a:lnTo>
                        <a:lnTo>
                          <a:pt x="220" y="745"/>
                        </a:lnTo>
                        <a:lnTo>
                          <a:pt x="230" y="754"/>
                        </a:lnTo>
                        <a:lnTo>
                          <a:pt x="258" y="766"/>
                        </a:lnTo>
                        <a:lnTo>
                          <a:pt x="263" y="766"/>
                        </a:lnTo>
                        <a:lnTo>
                          <a:pt x="268" y="769"/>
                        </a:lnTo>
                        <a:lnTo>
                          <a:pt x="270" y="776"/>
                        </a:lnTo>
                        <a:lnTo>
                          <a:pt x="273" y="780"/>
                        </a:lnTo>
                        <a:lnTo>
                          <a:pt x="277" y="778"/>
                        </a:lnTo>
                        <a:lnTo>
                          <a:pt x="289" y="776"/>
                        </a:lnTo>
                        <a:lnTo>
                          <a:pt x="296" y="773"/>
                        </a:lnTo>
                        <a:lnTo>
                          <a:pt x="301" y="776"/>
                        </a:lnTo>
                        <a:lnTo>
                          <a:pt x="310" y="778"/>
                        </a:lnTo>
                        <a:lnTo>
                          <a:pt x="327" y="790"/>
                        </a:lnTo>
                        <a:lnTo>
                          <a:pt x="332" y="790"/>
                        </a:lnTo>
                        <a:lnTo>
                          <a:pt x="336" y="787"/>
                        </a:lnTo>
                        <a:lnTo>
                          <a:pt x="341" y="783"/>
                        </a:lnTo>
                        <a:lnTo>
                          <a:pt x="346" y="776"/>
                        </a:lnTo>
                        <a:lnTo>
                          <a:pt x="358" y="771"/>
                        </a:lnTo>
                        <a:lnTo>
                          <a:pt x="362" y="766"/>
                        </a:lnTo>
                        <a:lnTo>
                          <a:pt x="362" y="761"/>
                        </a:lnTo>
                        <a:lnTo>
                          <a:pt x="365" y="759"/>
                        </a:lnTo>
                        <a:lnTo>
                          <a:pt x="367" y="757"/>
                        </a:lnTo>
                        <a:lnTo>
                          <a:pt x="372" y="754"/>
                        </a:lnTo>
                        <a:lnTo>
                          <a:pt x="374" y="754"/>
                        </a:lnTo>
                        <a:lnTo>
                          <a:pt x="377" y="752"/>
                        </a:lnTo>
                        <a:lnTo>
                          <a:pt x="377" y="747"/>
                        </a:lnTo>
                        <a:lnTo>
                          <a:pt x="379" y="747"/>
                        </a:lnTo>
                        <a:lnTo>
                          <a:pt x="386" y="745"/>
                        </a:lnTo>
                        <a:lnTo>
                          <a:pt x="400" y="740"/>
                        </a:lnTo>
                        <a:lnTo>
                          <a:pt x="407" y="740"/>
                        </a:lnTo>
                        <a:lnTo>
                          <a:pt x="412" y="740"/>
                        </a:lnTo>
                        <a:lnTo>
                          <a:pt x="417" y="740"/>
                        </a:lnTo>
                        <a:lnTo>
                          <a:pt x="417" y="740"/>
                        </a:lnTo>
                        <a:lnTo>
                          <a:pt x="429" y="735"/>
                        </a:lnTo>
                        <a:lnTo>
                          <a:pt x="431" y="735"/>
                        </a:lnTo>
                        <a:lnTo>
                          <a:pt x="433" y="735"/>
                        </a:lnTo>
                        <a:lnTo>
                          <a:pt x="436" y="735"/>
                        </a:lnTo>
                        <a:lnTo>
                          <a:pt x="464" y="738"/>
                        </a:lnTo>
                        <a:lnTo>
                          <a:pt x="471" y="738"/>
                        </a:lnTo>
                        <a:lnTo>
                          <a:pt x="474" y="740"/>
                        </a:lnTo>
                        <a:lnTo>
                          <a:pt x="476" y="743"/>
                        </a:lnTo>
                        <a:lnTo>
                          <a:pt x="476" y="743"/>
                        </a:lnTo>
                        <a:lnTo>
                          <a:pt x="478" y="747"/>
                        </a:lnTo>
                        <a:lnTo>
                          <a:pt x="478" y="747"/>
                        </a:lnTo>
                        <a:lnTo>
                          <a:pt x="481" y="750"/>
                        </a:lnTo>
                        <a:lnTo>
                          <a:pt x="485" y="750"/>
                        </a:lnTo>
                        <a:lnTo>
                          <a:pt x="488" y="750"/>
                        </a:lnTo>
                        <a:lnTo>
                          <a:pt x="490" y="750"/>
                        </a:lnTo>
                        <a:lnTo>
                          <a:pt x="490" y="747"/>
                        </a:lnTo>
                        <a:lnTo>
                          <a:pt x="493" y="747"/>
                        </a:lnTo>
                        <a:lnTo>
                          <a:pt x="497" y="750"/>
                        </a:lnTo>
                        <a:lnTo>
                          <a:pt x="507" y="750"/>
                        </a:lnTo>
                        <a:lnTo>
                          <a:pt x="509" y="750"/>
                        </a:lnTo>
                        <a:lnTo>
                          <a:pt x="511" y="750"/>
                        </a:lnTo>
                        <a:lnTo>
                          <a:pt x="511" y="747"/>
                        </a:lnTo>
                        <a:lnTo>
                          <a:pt x="511" y="747"/>
                        </a:lnTo>
                        <a:lnTo>
                          <a:pt x="514" y="747"/>
                        </a:lnTo>
                        <a:lnTo>
                          <a:pt x="521" y="743"/>
                        </a:lnTo>
                        <a:lnTo>
                          <a:pt x="523" y="743"/>
                        </a:lnTo>
                        <a:lnTo>
                          <a:pt x="526" y="743"/>
                        </a:lnTo>
                        <a:lnTo>
                          <a:pt x="528" y="745"/>
                        </a:lnTo>
                        <a:lnTo>
                          <a:pt x="528" y="745"/>
                        </a:lnTo>
                        <a:lnTo>
                          <a:pt x="528" y="747"/>
                        </a:lnTo>
                        <a:lnTo>
                          <a:pt x="528" y="747"/>
                        </a:lnTo>
                        <a:lnTo>
                          <a:pt x="528" y="750"/>
                        </a:lnTo>
                        <a:lnTo>
                          <a:pt x="528" y="752"/>
                        </a:lnTo>
                        <a:lnTo>
                          <a:pt x="528" y="752"/>
                        </a:lnTo>
                        <a:lnTo>
                          <a:pt x="528" y="754"/>
                        </a:lnTo>
                        <a:lnTo>
                          <a:pt x="528" y="757"/>
                        </a:lnTo>
                        <a:lnTo>
                          <a:pt x="528" y="757"/>
                        </a:lnTo>
                        <a:lnTo>
                          <a:pt x="528" y="761"/>
                        </a:lnTo>
                        <a:lnTo>
                          <a:pt x="530" y="766"/>
                        </a:lnTo>
                        <a:lnTo>
                          <a:pt x="530" y="771"/>
                        </a:lnTo>
                        <a:lnTo>
                          <a:pt x="533" y="771"/>
                        </a:lnTo>
                        <a:lnTo>
                          <a:pt x="533" y="773"/>
                        </a:lnTo>
                        <a:lnTo>
                          <a:pt x="533" y="773"/>
                        </a:lnTo>
                        <a:lnTo>
                          <a:pt x="535" y="776"/>
                        </a:lnTo>
                        <a:lnTo>
                          <a:pt x="542" y="776"/>
                        </a:lnTo>
                        <a:lnTo>
                          <a:pt x="545" y="776"/>
                        </a:lnTo>
                        <a:lnTo>
                          <a:pt x="547" y="778"/>
                        </a:lnTo>
                        <a:lnTo>
                          <a:pt x="547" y="778"/>
                        </a:lnTo>
                        <a:lnTo>
                          <a:pt x="549" y="780"/>
                        </a:lnTo>
                        <a:lnTo>
                          <a:pt x="549" y="780"/>
                        </a:lnTo>
                        <a:lnTo>
                          <a:pt x="549" y="783"/>
                        </a:lnTo>
                        <a:lnTo>
                          <a:pt x="549" y="785"/>
                        </a:lnTo>
                        <a:lnTo>
                          <a:pt x="549" y="787"/>
                        </a:lnTo>
                        <a:lnTo>
                          <a:pt x="552" y="790"/>
                        </a:lnTo>
                        <a:lnTo>
                          <a:pt x="552" y="790"/>
                        </a:lnTo>
                        <a:lnTo>
                          <a:pt x="556" y="792"/>
                        </a:lnTo>
                        <a:lnTo>
                          <a:pt x="566" y="799"/>
                        </a:lnTo>
                        <a:lnTo>
                          <a:pt x="568" y="797"/>
                        </a:lnTo>
                        <a:lnTo>
                          <a:pt x="573" y="792"/>
                        </a:lnTo>
                        <a:lnTo>
                          <a:pt x="573" y="785"/>
                        </a:lnTo>
                        <a:lnTo>
                          <a:pt x="571" y="785"/>
                        </a:lnTo>
                        <a:lnTo>
                          <a:pt x="568" y="785"/>
                        </a:lnTo>
                        <a:lnTo>
                          <a:pt x="566" y="785"/>
                        </a:lnTo>
                        <a:lnTo>
                          <a:pt x="566" y="780"/>
                        </a:lnTo>
                        <a:lnTo>
                          <a:pt x="568" y="780"/>
                        </a:lnTo>
                        <a:lnTo>
                          <a:pt x="571" y="776"/>
                        </a:lnTo>
                        <a:lnTo>
                          <a:pt x="571" y="773"/>
                        </a:lnTo>
                        <a:lnTo>
                          <a:pt x="561" y="771"/>
                        </a:lnTo>
                        <a:lnTo>
                          <a:pt x="561" y="766"/>
                        </a:lnTo>
                        <a:lnTo>
                          <a:pt x="564" y="759"/>
                        </a:lnTo>
                        <a:lnTo>
                          <a:pt x="564" y="757"/>
                        </a:lnTo>
                        <a:lnTo>
                          <a:pt x="566" y="752"/>
                        </a:lnTo>
                        <a:lnTo>
                          <a:pt x="568" y="750"/>
                        </a:lnTo>
                        <a:lnTo>
                          <a:pt x="573" y="750"/>
                        </a:lnTo>
                        <a:lnTo>
                          <a:pt x="575" y="754"/>
                        </a:lnTo>
                        <a:lnTo>
                          <a:pt x="575" y="761"/>
                        </a:lnTo>
                        <a:lnTo>
                          <a:pt x="571" y="771"/>
                        </a:lnTo>
                        <a:lnTo>
                          <a:pt x="575" y="773"/>
                        </a:lnTo>
                        <a:lnTo>
                          <a:pt x="578" y="778"/>
                        </a:lnTo>
                        <a:lnTo>
                          <a:pt x="580" y="783"/>
                        </a:lnTo>
                        <a:lnTo>
                          <a:pt x="580" y="785"/>
                        </a:lnTo>
                        <a:lnTo>
                          <a:pt x="587" y="773"/>
                        </a:lnTo>
                        <a:lnTo>
                          <a:pt x="590" y="764"/>
                        </a:lnTo>
                        <a:lnTo>
                          <a:pt x="590" y="757"/>
                        </a:lnTo>
                        <a:lnTo>
                          <a:pt x="590" y="745"/>
                        </a:lnTo>
                        <a:lnTo>
                          <a:pt x="590" y="740"/>
                        </a:lnTo>
                        <a:lnTo>
                          <a:pt x="592" y="738"/>
                        </a:lnTo>
                        <a:lnTo>
                          <a:pt x="594" y="738"/>
                        </a:lnTo>
                        <a:lnTo>
                          <a:pt x="594" y="735"/>
                        </a:lnTo>
                        <a:lnTo>
                          <a:pt x="594" y="733"/>
                        </a:lnTo>
                        <a:lnTo>
                          <a:pt x="597" y="728"/>
                        </a:lnTo>
                        <a:lnTo>
                          <a:pt x="594" y="726"/>
                        </a:lnTo>
                        <a:lnTo>
                          <a:pt x="597" y="721"/>
                        </a:lnTo>
                        <a:lnTo>
                          <a:pt x="597" y="716"/>
                        </a:lnTo>
                        <a:lnTo>
                          <a:pt x="594" y="714"/>
                        </a:lnTo>
                        <a:lnTo>
                          <a:pt x="590" y="709"/>
                        </a:lnTo>
                        <a:lnTo>
                          <a:pt x="587" y="709"/>
                        </a:lnTo>
                        <a:lnTo>
                          <a:pt x="580" y="709"/>
                        </a:lnTo>
                        <a:lnTo>
                          <a:pt x="582" y="714"/>
                        </a:lnTo>
                        <a:lnTo>
                          <a:pt x="582" y="714"/>
                        </a:lnTo>
                        <a:lnTo>
                          <a:pt x="585" y="714"/>
                        </a:lnTo>
                        <a:lnTo>
                          <a:pt x="585" y="712"/>
                        </a:lnTo>
                        <a:lnTo>
                          <a:pt x="582" y="716"/>
                        </a:lnTo>
                        <a:lnTo>
                          <a:pt x="575" y="712"/>
                        </a:lnTo>
                        <a:lnTo>
                          <a:pt x="568" y="705"/>
                        </a:lnTo>
                        <a:lnTo>
                          <a:pt x="564" y="702"/>
                        </a:lnTo>
                        <a:lnTo>
                          <a:pt x="561" y="700"/>
                        </a:lnTo>
                        <a:lnTo>
                          <a:pt x="556" y="698"/>
                        </a:lnTo>
                        <a:lnTo>
                          <a:pt x="556" y="693"/>
                        </a:lnTo>
                        <a:lnTo>
                          <a:pt x="552" y="690"/>
                        </a:lnTo>
                        <a:lnTo>
                          <a:pt x="547" y="688"/>
                        </a:lnTo>
                        <a:lnTo>
                          <a:pt x="542" y="683"/>
                        </a:lnTo>
                        <a:lnTo>
                          <a:pt x="547" y="690"/>
                        </a:lnTo>
                        <a:lnTo>
                          <a:pt x="549" y="695"/>
                        </a:lnTo>
                        <a:lnTo>
                          <a:pt x="549" y="700"/>
                        </a:lnTo>
                        <a:lnTo>
                          <a:pt x="545" y="707"/>
                        </a:lnTo>
                        <a:lnTo>
                          <a:pt x="540" y="702"/>
                        </a:lnTo>
                        <a:lnTo>
                          <a:pt x="542" y="700"/>
                        </a:lnTo>
                        <a:lnTo>
                          <a:pt x="542" y="700"/>
                        </a:lnTo>
                        <a:lnTo>
                          <a:pt x="545" y="700"/>
                        </a:lnTo>
                        <a:lnTo>
                          <a:pt x="547" y="698"/>
                        </a:lnTo>
                        <a:lnTo>
                          <a:pt x="545" y="695"/>
                        </a:lnTo>
                        <a:lnTo>
                          <a:pt x="542" y="690"/>
                        </a:lnTo>
                        <a:lnTo>
                          <a:pt x="538" y="683"/>
                        </a:lnTo>
                        <a:lnTo>
                          <a:pt x="533" y="679"/>
                        </a:lnTo>
                        <a:lnTo>
                          <a:pt x="526" y="674"/>
                        </a:lnTo>
                        <a:lnTo>
                          <a:pt x="528" y="679"/>
                        </a:lnTo>
                        <a:lnTo>
                          <a:pt x="528" y="679"/>
                        </a:lnTo>
                        <a:lnTo>
                          <a:pt x="528" y="681"/>
                        </a:lnTo>
                        <a:lnTo>
                          <a:pt x="523" y="681"/>
                        </a:lnTo>
                        <a:lnTo>
                          <a:pt x="519" y="679"/>
                        </a:lnTo>
                        <a:lnTo>
                          <a:pt x="519" y="672"/>
                        </a:lnTo>
                        <a:lnTo>
                          <a:pt x="519" y="660"/>
                        </a:lnTo>
                        <a:lnTo>
                          <a:pt x="521" y="662"/>
                        </a:lnTo>
                        <a:lnTo>
                          <a:pt x="521" y="667"/>
                        </a:lnTo>
                        <a:lnTo>
                          <a:pt x="521" y="669"/>
                        </a:lnTo>
                        <a:lnTo>
                          <a:pt x="526" y="672"/>
                        </a:lnTo>
                        <a:lnTo>
                          <a:pt x="528" y="672"/>
                        </a:lnTo>
                        <a:lnTo>
                          <a:pt x="523" y="655"/>
                        </a:lnTo>
                        <a:lnTo>
                          <a:pt x="521" y="641"/>
                        </a:lnTo>
                        <a:lnTo>
                          <a:pt x="519" y="636"/>
                        </a:lnTo>
                        <a:lnTo>
                          <a:pt x="514" y="631"/>
                        </a:lnTo>
                        <a:lnTo>
                          <a:pt x="511" y="624"/>
                        </a:lnTo>
                        <a:lnTo>
                          <a:pt x="514" y="617"/>
                        </a:lnTo>
                        <a:lnTo>
                          <a:pt x="509" y="619"/>
                        </a:lnTo>
                        <a:lnTo>
                          <a:pt x="504" y="627"/>
                        </a:lnTo>
                        <a:lnTo>
                          <a:pt x="500" y="631"/>
                        </a:lnTo>
                        <a:lnTo>
                          <a:pt x="502" y="631"/>
                        </a:lnTo>
                        <a:lnTo>
                          <a:pt x="502" y="631"/>
                        </a:lnTo>
                        <a:lnTo>
                          <a:pt x="502" y="634"/>
                        </a:lnTo>
                        <a:lnTo>
                          <a:pt x="497" y="634"/>
                        </a:lnTo>
                        <a:lnTo>
                          <a:pt x="493" y="631"/>
                        </a:lnTo>
                        <a:lnTo>
                          <a:pt x="488" y="627"/>
                        </a:lnTo>
                        <a:lnTo>
                          <a:pt x="488" y="622"/>
                        </a:lnTo>
                        <a:lnTo>
                          <a:pt x="485" y="619"/>
                        </a:lnTo>
                        <a:lnTo>
                          <a:pt x="483" y="617"/>
                        </a:lnTo>
                        <a:lnTo>
                          <a:pt x="485" y="615"/>
                        </a:lnTo>
                        <a:lnTo>
                          <a:pt x="488" y="612"/>
                        </a:lnTo>
                        <a:lnTo>
                          <a:pt x="485" y="605"/>
                        </a:lnTo>
                        <a:lnTo>
                          <a:pt x="485" y="598"/>
                        </a:lnTo>
                        <a:lnTo>
                          <a:pt x="483" y="596"/>
                        </a:lnTo>
                        <a:lnTo>
                          <a:pt x="476" y="593"/>
                        </a:lnTo>
                        <a:lnTo>
                          <a:pt x="478" y="598"/>
                        </a:lnTo>
                        <a:lnTo>
                          <a:pt x="478" y="603"/>
                        </a:lnTo>
                        <a:lnTo>
                          <a:pt x="476" y="610"/>
                        </a:lnTo>
                        <a:lnTo>
                          <a:pt x="474" y="612"/>
                        </a:lnTo>
                        <a:lnTo>
                          <a:pt x="471" y="610"/>
                        </a:lnTo>
                        <a:lnTo>
                          <a:pt x="467" y="603"/>
                        </a:lnTo>
                        <a:lnTo>
                          <a:pt x="462" y="598"/>
                        </a:lnTo>
                        <a:lnTo>
                          <a:pt x="462" y="589"/>
                        </a:lnTo>
                        <a:lnTo>
                          <a:pt x="464" y="589"/>
                        </a:lnTo>
                        <a:lnTo>
                          <a:pt x="469" y="589"/>
                        </a:lnTo>
                        <a:lnTo>
                          <a:pt x="474" y="591"/>
                        </a:lnTo>
                        <a:lnTo>
                          <a:pt x="478" y="589"/>
                        </a:lnTo>
                        <a:lnTo>
                          <a:pt x="481" y="586"/>
                        </a:lnTo>
                        <a:lnTo>
                          <a:pt x="481" y="582"/>
                        </a:lnTo>
                        <a:lnTo>
                          <a:pt x="483" y="575"/>
                        </a:lnTo>
                        <a:lnTo>
                          <a:pt x="481" y="570"/>
                        </a:lnTo>
                        <a:lnTo>
                          <a:pt x="481" y="567"/>
                        </a:lnTo>
                        <a:lnTo>
                          <a:pt x="485" y="567"/>
                        </a:lnTo>
                        <a:lnTo>
                          <a:pt x="485" y="565"/>
                        </a:lnTo>
                        <a:lnTo>
                          <a:pt x="485" y="560"/>
                        </a:lnTo>
                        <a:lnTo>
                          <a:pt x="485" y="558"/>
                        </a:lnTo>
                        <a:lnTo>
                          <a:pt x="485" y="556"/>
                        </a:lnTo>
                        <a:lnTo>
                          <a:pt x="488" y="551"/>
                        </a:lnTo>
                        <a:lnTo>
                          <a:pt x="485" y="549"/>
                        </a:lnTo>
                        <a:lnTo>
                          <a:pt x="483" y="544"/>
                        </a:lnTo>
                        <a:lnTo>
                          <a:pt x="483" y="539"/>
                        </a:lnTo>
                        <a:lnTo>
                          <a:pt x="485" y="534"/>
                        </a:lnTo>
                        <a:lnTo>
                          <a:pt x="483" y="537"/>
                        </a:lnTo>
                        <a:lnTo>
                          <a:pt x="483" y="532"/>
                        </a:lnTo>
                        <a:lnTo>
                          <a:pt x="488" y="520"/>
                        </a:lnTo>
                        <a:lnTo>
                          <a:pt x="497" y="508"/>
                        </a:lnTo>
                        <a:lnTo>
                          <a:pt x="507" y="499"/>
                        </a:lnTo>
                        <a:lnTo>
                          <a:pt x="519" y="499"/>
                        </a:lnTo>
                        <a:lnTo>
                          <a:pt x="516" y="504"/>
                        </a:lnTo>
                        <a:lnTo>
                          <a:pt x="521" y="504"/>
                        </a:lnTo>
                        <a:lnTo>
                          <a:pt x="526" y="501"/>
                        </a:lnTo>
                        <a:lnTo>
                          <a:pt x="530" y="499"/>
                        </a:lnTo>
                        <a:lnTo>
                          <a:pt x="530" y="496"/>
                        </a:lnTo>
                        <a:lnTo>
                          <a:pt x="519" y="494"/>
                        </a:lnTo>
                        <a:lnTo>
                          <a:pt x="516" y="489"/>
                        </a:lnTo>
                        <a:lnTo>
                          <a:pt x="519" y="482"/>
                        </a:lnTo>
                        <a:lnTo>
                          <a:pt x="523" y="492"/>
                        </a:lnTo>
                        <a:lnTo>
                          <a:pt x="526" y="492"/>
                        </a:lnTo>
                        <a:lnTo>
                          <a:pt x="526" y="489"/>
                        </a:lnTo>
                        <a:lnTo>
                          <a:pt x="533" y="492"/>
                        </a:lnTo>
                        <a:lnTo>
                          <a:pt x="538" y="492"/>
                        </a:lnTo>
                        <a:lnTo>
                          <a:pt x="538" y="489"/>
                        </a:lnTo>
                        <a:lnTo>
                          <a:pt x="533" y="485"/>
                        </a:lnTo>
                        <a:lnTo>
                          <a:pt x="538" y="478"/>
                        </a:lnTo>
                        <a:lnTo>
                          <a:pt x="542" y="468"/>
                        </a:lnTo>
                        <a:lnTo>
                          <a:pt x="549" y="463"/>
                        </a:lnTo>
                        <a:lnTo>
                          <a:pt x="552" y="470"/>
                        </a:lnTo>
                        <a:lnTo>
                          <a:pt x="554" y="473"/>
                        </a:lnTo>
                        <a:lnTo>
                          <a:pt x="561" y="478"/>
                        </a:lnTo>
                        <a:lnTo>
                          <a:pt x="564" y="478"/>
                        </a:lnTo>
                        <a:lnTo>
                          <a:pt x="568" y="470"/>
                        </a:lnTo>
                        <a:lnTo>
                          <a:pt x="573" y="468"/>
                        </a:lnTo>
                        <a:lnTo>
                          <a:pt x="571" y="475"/>
                        </a:lnTo>
                        <a:lnTo>
                          <a:pt x="568" y="480"/>
                        </a:lnTo>
                        <a:lnTo>
                          <a:pt x="564" y="482"/>
                        </a:lnTo>
                        <a:lnTo>
                          <a:pt x="559" y="482"/>
                        </a:lnTo>
                        <a:lnTo>
                          <a:pt x="556" y="487"/>
                        </a:lnTo>
                        <a:lnTo>
                          <a:pt x="556" y="492"/>
                        </a:lnTo>
                        <a:lnTo>
                          <a:pt x="556" y="496"/>
                        </a:lnTo>
                        <a:lnTo>
                          <a:pt x="549" y="499"/>
                        </a:lnTo>
                        <a:lnTo>
                          <a:pt x="549" y="496"/>
                        </a:lnTo>
                        <a:lnTo>
                          <a:pt x="554" y="496"/>
                        </a:lnTo>
                        <a:lnTo>
                          <a:pt x="554" y="496"/>
                        </a:lnTo>
                        <a:lnTo>
                          <a:pt x="554" y="494"/>
                        </a:lnTo>
                        <a:lnTo>
                          <a:pt x="552" y="494"/>
                        </a:lnTo>
                        <a:lnTo>
                          <a:pt x="552" y="492"/>
                        </a:lnTo>
                        <a:lnTo>
                          <a:pt x="552" y="494"/>
                        </a:lnTo>
                        <a:lnTo>
                          <a:pt x="552" y="492"/>
                        </a:lnTo>
                        <a:lnTo>
                          <a:pt x="547" y="494"/>
                        </a:lnTo>
                        <a:lnTo>
                          <a:pt x="545" y="494"/>
                        </a:lnTo>
                        <a:lnTo>
                          <a:pt x="542" y="494"/>
                        </a:lnTo>
                        <a:lnTo>
                          <a:pt x="547" y="499"/>
                        </a:lnTo>
                        <a:lnTo>
                          <a:pt x="545" y="501"/>
                        </a:lnTo>
                        <a:lnTo>
                          <a:pt x="542" y="504"/>
                        </a:lnTo>
                        <a:lnTo>
                          <a:pt x="542" y="501"/>
                        </a:lnTo>
                        <a:lnTo>
                          <a:pt x="540" y="496"/>
                        </a:lnTo>
                        <a:lnTo>
                          <a:pt x="538" y="499"/>
                        </a:lnTo>
                        <a:lnTo>
                          <a:pt x="538" y="501"/>
                        </a:lnTo>
                        <a:lnTo>
                          <a:pt x="538" y="504"/>
                        </a:lnTo>
                        <a:lnTo>
                          <a:pt x="535" y="506"/>
                        </a:lnTo>
                        <a:lnTo>
                          <a:pt x="533" y="506"/>
                        </a:lnTo>
                        <a:lnTo>
                          <a:pt x="535" y="508"/>
                        </a:lnTo>
                        <a:lnTo>
                          <a:pt x="533" y="513"/>
                        </a:lnTo>
                        <a:lnTo>
                          <a:pt x="530" y="520"/>
                        </a:lnTo>
                        <a:lnTo>
                          <a:pt x="530" y="525"/>
                        </a:lnTo>
                        <a:lnTo>
                          <a:pt x="533" y="525"/>
                        </a:lnTo>
                        <a:lnTo>
                          <a:pt x="540" y="518"/>
                        </a:lnTo>
                        <a:lnTo>
                          <a:pt x="552" y="513"/>
                        </a:lnTo>
                        <a:lnTo>
                          <a:pt x="554" y="511"/>
                        </a:lnTo>
                        <a:lnTo>
                          <a:pt x="559" y="506"/>
                        </a:lnTo>
                        <a:lnTo>
                          <a:pt x="585" y="492"/>
                        </a:lnTo>
                        <a:lnTo>
                          <a:pt x="630" y="459"/>
                        </a:lnTo>
                        <a:lnTo>
                          <a:pt x="672" y="421"/>
                        </a:lnTo>
                        <a:lnTo>
                          <a:pt x="684" y="416"/>
                        </a:lnTo>
                        <a:lnTo>
                          <a:pt x="705" y="411"/>
                        </a:lnTo>
                        <a:lnTo>
                          <a:pt x="713" y="407"/>
                        </a:lnTo>
                        <a:lnTo>
                          <a:pt x="715" y="402"/>
                        </a:lnTo>
                        <a:lnTo>
                          <a:pt x="710" y="397"/>
                        </a:lnTo>
                        <a:lnTo>
                          <a:pt x="708" y="395"/>
                        </a:lnTo>
                        <a:lnTo>
                          <a:pt x="698" y="376"/>
                        </a:lnTo>
                        <a:lnTo>
                          <a:pt x="696" y="376"/>
                        </a:lnTo>
                        <a:lnTo>
                          <a:pt x="694" y="371"/>
                        </a:lnTo>
                        <a:lnTo>
                          <a:pt x="691" y="369"/>
                        </a:lnTo>
                        <a:lnTo>
                          <a:pt x="689" y="369"/>
                        </a:lnTo>
                        <a:lnTo>
                          <a:pt x="689" y="364"/>
                        </a:lnTo>
                        <a:lnTo>
                          <a:pt x="689" y="364"/>
                        </a:lnTo>
                        <a:lnTo>
                          <a:pt x="689" y="364"/>
                        </a:lnTo>
                        <a:lnTo>
                          <a:pt x="687" y="362"/>
                        </a:lnTo>
                        <a:lnTo>
                          <a:pt x="679" y="352"/>
                        </a:lnTo>
                        <a:lnTo>
                          <a:pt x="679" y="352"/>
                        </a:lnTo>
                        <a:lnTo>
                          <a:pt x="677" y="350"/>
                        </a:lnTo>
                        <a:lnTo>
                          <a:pt x="677" y="345"/>
                        </a:lnTo>
                        <a:lnTo>
                          <a:pt x="675" y="340"/>
                        </a:lnTo>
                        <a:lnTo>
                          <a:pt x="675" y="336"/>
                        </a:lnTo>
                        <a:lnTo>
                          <a:pt x="675" y="336"/>
                        </a:lnTo>
                        <a:lnTo>
                          <a:pt x="672" y="331"/>
                        </a:lnTo>
                        <a:lnTo>
                          <a:pt x="668" y="328"/>
                        </a:lnTo>
                        <a:lnTo>
                          <a:pt x="663" y="333"/>
                        </a:lnTo>
                        <a:lnTo>
                          <a:pt x="663" y="338"/>
                        </a:lnTo>
                        <a:lnTo>
                          <a:pt x="663" y="338"/>
                        </a:lnTo>
                        <a:lnTo>
                          <a:pt x="661" y="340"/>
                        </a:lnTo>
                        <a:lnTo>
                          <a:pt x="658" y="340"/>
                        </a:lnTo>
                        <a:lnTo>
                          <a:pt x="644" y="340"/>
                        </a:lnTo>
                        <a:lnTo>
                          <a:pt x="644" y="338"/>
                        </a:lnTo>
                        <a:lnTo>
                          <a:pt x="642" y="338"/>
                        </a:lnTo>
                        <a:lnTo>
                          <a:pt x="642" y="336"/>
                        </a:lnTo>
                        <a:lnTo>
                          <a:pt x="642" y="333"/>
                        </a:lnTo>
                        <a:lnTo>
                          <a:pt x="642" y="333"/>
                        </a:lnTo>
                        <a:lnTo>
                          <a:pt x="639" y="333"/>
                        </a:lnTo>
                        <a:lnTo>
                          <a:pt x="637" y="331"/>
                        </a:lnTo>
                        <a:lnTo>
                          <a:pt x="637" y="331"/>
                        </a:lnTo>
                        <a:lnTo>
                          <a:pt x="635" y="331"/>
                        </a:lnTo>
                        <a:lnTo>
                          <a:pt x="632" y="333"/>
                        </a:lnTo>
                        <a:lnTo>
                          <a:pt x="630" y="336"/>
                        </a:lnTo>
                        <a:lnTo>
                          <a:pt x="630" y="338"/>
                        </a:lnTo>
                        <a:lnTo>
                          <a:pt x="627" y="340"/>
                        </a:lnTo>
                        <a:lnTo>
                          <a:pt x="627" y="343"/>
                        </a:lnTo>
                        <a:lnTo>
                          <a:pt x="627" y="343"/>
                        </a:lnTo>
                        <a:lnTo>
                          <a:pt x="625" y="343"/>
                        </a:lnTo>
                        <a:lnTo>
                          <a:pt x="623" y="343"/>
                        </a:lnTo>
                        <a:lnTo>
                          <a:pt x="623" y="340"/>
                        </a:lnTo>
                        <a:lnTo>
                          <a:pt x="620" y="340"/>
                        </a:lnTo>
                        <a:lnTo>
                          <a:pt x="620" y="338"/>
                        </a:lnTo>
                        <a:lnTo>
                          <a:pt x="620" y="336"/>
                        </a:lnTo>
                        <a:lnTo>
                          <a:pt x="620" y="336"/>
                        </a:lnTo>
                        <a:lnTo>
                          <a:pt x="620" y="333"/>
                        </a:lnTo>
                        <a:lnTo>
                          <a:pt x="618" y="333"/>
                        </a:lnTo>
                        <a:lnTo>
                          <a:pt x="616" y="333"/>
                        </a:lnTo>
                        <a:lnTo>
                          <a:pt x="613" y="331"/>
                        </a:lnTo>
                        <a:lnTo>
                          <a:pt x="611" y="331"/>
                        </a:lnTo>
                        <a:lnTo>
                          <a:pt x="611" y="333"/>
                        </a:lnTo>
                        <a:lnTo>
                          <a:pt x="611" y="336"/>
                        </a:lnTo>
                        <a:lnTo>
                          <a:pt x="608" y="338"/>
                        </a:lnTo>
                        <a:lnTo>
                          <a:pt x="608" y="340"/>
                        </a:lnTo>
                        <a:lnTo>
                          <a:pt x="606" y="340"/>
                        </a:lnTo>
                        <a:lnTo>
                          <a:pt x="601" y="343"/>
                        </a:lnTo>
                        <a:lnTo>
                          <a:pt x="599" y="345"/>
                        </a:lnTo>
                        <a:lnTo>
                          <a:pt x="597" y="347"/>
                        </a:lnTo>
                        <a:lnTo>
                          <a:pt x="590" y="357"/>
                        </a:lnTo>
                        <a:lnTo>
                          <a:pt x="587" y="359"/>
                        </a:lnTo>
                        <a:lnTo>
                          <a:pt x="582" y="359"/>
                        </a:lnTo>
                        <a:lnTo>
                          <a:pt x="580" y="355"/>
                        </a:lnTo>
                        <a:lnTo>
                          <a:pt x="578" y="352"/>
                        </a:lnTo>
                        <a:lnTo>
                          <a:pt x="573" y="350"/>
                        </a:lnTo>
                        <a:lnTo>
                          <a:pt x="571" y="347"/>
                        </a:lnTo>
                        <a:lnTo>
                          <a:pt x="568" y="347"/>
                        </a:lnTo>
                        <a:lnTo>
                          <a:pt x="568" y="350"/>
                        </a:lnTo>
                        <a:lnTo>
                          <a:pt x="566" y="350"/>
                        </a:lnTo>
                        <a:lnTo>
                          <a:pt x="564" y="352"/>
                        </a:lnTo>
                        <a:lnTo>
                          <a:pt x="561" y="352"/>
                        </a:lnTo>
                        <a:lnTo>
                          <a:pt x="561" y="352"/>
                        </a:lnTo>
                        <a:lnTo>
                          <a:pt x="549" y="350"/>
                        </a:lnTo>
                        <a:lnTo>
                          <a:pt x="547" y="347"/>
                        </a:lnTo>
                        <a:lnTo>
                          <a:pt x="547" y="345"/>
                        </a:lnTo>
                        <a:lnTo>
                          <a:pt x="545" y="343"/>
                        </a:lnTo>
                        <a:lnTo>
                          <a:pt x="535" y="324"/>
                        </a:lnTo>
                        <a:lnTo>
                          <a:pt x="533" y="319"/>
                        </a:lnTo>
                        <a:lnTo>
                          <a:pt x="533" y="319"/>
                        </a:lnTo>
                        <a:lnTo>
                          <a:pt x="533" y="317"/>
                        </a:lnTo>
                        <a:lnTo>
                          <a:pt x="530" y="314"/>
                        </a:lnTo>
                        <a:lnTo>
                          <a:pt x="528" y="314"/>
                        </a:lnTo>
                        <a:lnTo>
                          <a:pt x="523" y="312"/>
                        </a:lnTo>
                        <a:lnTo>
                          <a:pt x="521" y="312"/>
                        </a:lnTo>
                        <a:lnTo>
                          <a:pt x="514" y="307"/>
                        </a:lnTo>
                        <a:lnTo>
                          <a:pt x="511" y="305"/>
                        </a:lnTo>
                        <a:lnTo>
                          <a:pt x="511" y="305"/>
                        </a:lnTo>
                        <a:lnTo>
                          <a:pt x="509" y="305"/>
                        </a:lnTo>
                        <a:lnTo>
                          <a:pt x="507" y="302"/>
                        </a:lnTo>
                        <a:lnTo>
                          <a:pt x="504" y="300"/>
                        </a:lnTo>
                        <a:lnTo>
                          <a:pt x="502" y="288"/>
                        </a:lnTo>
                        <a:lnTo>
                          <a:pt x="500" y="279"/>
                        </a:lnTo>
                        <a:lnTo>
                          <a:pt x="493" y="267"/>
                        </a:lnTo>
                        <a:lnTo>
                          <a:pt x="495" y="260"/>
                        </a:lnTo>
                        <a:lnTo>
                          <a:pt x="495" y="258"/>
                        </a:lnTo>
                        <a:lnTo>
                          <a:pt x="495" y="255"/>
                        </a:lnTo>
                        <a:lnTo>
                          <a:pt x="497" y="253"/>
                        </a:lnTo>
                        <a:lnTo>
                          <a:pt x="497" y="250"/>
                        </a:lnTo>
                        <a:lnTo>
                          <a:pt x="497" y="250"/>
                        </a:lnTo>
                        <a:lnTo>
                          <a:pt x="500" y="250"/>
                        </a:lnTo>
                        <a:lnTo>
                          <a:pt x="500" y="248"/>
                        </a:lnTo>
                        <a:lnTo>
                          <a:pt x="507" y="246"/>
                        </a:lnTo>
                        <a:lnTo>
                          <a:pt x="509" y="243"/>
                        </a:lnTo>
                        <a:lnTo>
                          <a:pt x="511" y="241"/>
                        </a:lnTo>
                        <a:lnTo>
                          <a:pt x="511" y="241"/>
                        </a:lnTo>
                        <a:lnTo>
                          <a:pt x="511" y="239"/>
                        </a:lnTo>
                        <a:lnTo>
                          <a:pt x="511" y="236"/>
                        </a:lnTo>
                        <a:lnTo>
                          <a:pt x="511" y="234"/>
                        </a:lnTo>
                        <a:lnTo>
                          <a:pt x="511" y="229"/>
                        </a:lnTo>
                        <a:lnTo>
                          <a:pt x="509" y="222"/>
                        </a:lnTo>
                        <a:lnTo>
                          <a:pt x="507" y="220"/>
                        </a:lnTo>
                        <a:lnTo>
                          <a:pt x="504" y="217"/>
                        </a:lnTo>
                        <a:lnTo>
                          <a:pt x="500" y="213"/>
                        </a:lnTo>
                        <a:lnTo>
                          <a:pt x="497" y="210"/>
                        </a:lnTo>
                        <a:lnTo>
                          <a:pt x="497" y="210"/>
                        </a:lnTo>
                        <a:lnTo>
                          <a:pt x="495" y="210"/>
                        </a:lnTo>
                        <a:lnTo>
                          <a:pt x="495" y="208"/>
                        </a:lnTo>
                        <a:lnTo>
                          <a:pt x="493" y="201"/>
                        </a:lnTo>
                        <a:lnTo>
                          <a:pt x="493" y="198"/>
                        </a:lnTo>
                        <a:lnTo>
                          <a:pt x="490" y="198"/>
                        </a:lnTo>
                        <a:lnTo>
                          <a:pt x="490" y="198"/>
                        </a:lnTo>
                        <a:lnTo>
                          <a:pt x="485" y="198"/>
                        </a:lnTo>
                        <a:lnTo>
                          <a:pt x="485" y="198"/>
                        </a:lnTo>
                        <a:lnTo>
                          <a:pt x="483" y="196"/>
                        </a:lnTo>
                        <a:lnTo>
                          <a:pt x="483" y="196"/>
                        </a:lnTo>
                        <a:lnTo>
                          <a:pt x="483" y="194"/>
                        </a:lnTo>
                        <a:lnTo>
                          <a:pt x="481" y="194"/>
                        </a:lnTo>
                        <a:lnTo>
                          <a:pt x="481" y="191"/>
                        </a:lnTo>
                        <a:lnTo>
                          <a:pt x="478" y="191"/>
                        </a:lnTo>
                        <a:lnTo>
                          <a:pt x="474" y="194"/>
                        </a:lnTo>
                        <a:lnTo>
                          <a:pt x="471" y="194"/>
                        </a:lnTo>
                        <a:lnTo>
                          <a:pt x="469" y="191"/>
                        </a:lnTo>
                        <a:lnTo>
                          <a:pt x="462" y="187"/>
                        </a:lnTo>
                        <a:lnTo>
                          <a:pt x="457" y="182"/>
                        </a:lnTo>
                        <a:lnTo>
                          <a:pt x="455" y="182"/>
                        </a:lnTo>
                        <a:lnTo>
                          <a:pt x="455" y="179"/>
                        </a:lnTo>
                        <a:lnTo>
                          <a:pt x="452" y="177"/>
                        </a:lnTo>
                        <a:lnTo>
                          <a:pt x="455" y="175"/>
                        </a:lnTo>
                        <a:lnTo>
                          <a:pt x="455" y="172"/>
                        </a:lnTo>
                        <a:lnTo>
                          <a:pt x="459" y="165"/>
                        </a:lnTo>
                        <a:lnTo>
                          <a:pt x="462" y="161"/>
                        </a:lnTo>
                        <a:lnTo>
                          <a:pt x="464" y="156"/>
                        </a:lnTo>
                        <a:lnTo>
                          <a:pt x="478" y="146"/>
                        </a:lnTo>
                        <a:lnTo>
                          <a:pt x="481" y="144"/>
                        </a:lnTo>
                        <a:lnTo>
                          <a:pt x="485" y="134"/>
                        </a:lnTo>
                        <a:lnTo>
                          <a:pt x="493" y="116"/>
                        </a:lnTo>
                        <a:lnTo>
                          <a:pt x="493" y="106"/>
                        </a:lnTo>
                        <a:lnTo>
                          <a:pt x="495" y="97"/>
                        </a:lnTo>
                        <a:lnTo>
                          <a:pt x="495" y="94"/>
                        </a:lnTo>
                        <a:lnTo>
                          <a:pt x="497" y="94"/>
                        </a:lnTo>
                        <a:lnTo>
                          <a:pt x="502" y="90"/>
                        </a:lnTo>
                        <a:lnTo>
                          <a:pt x="514" y="85"/>
                        </a:lnTo>
                        <a:lnTo>
                          <a:pt x="528" y="82"/>
                        </a:lnTo>
                        <a:lnTo>
                          <a:pt x="530" y="82"/>
                        </a:lnTo>
                        <a:lnTo>
                          <a:pt x="535" y="82"/>
                        </a:lnTo>
                        <a:lnTo>
                          <a:pt x="535" y="82"/>
                        </a:lnTo>
                        <a:lnTo>
                          <a:pt x="538" y="82"/>
                        </a:lnTo>
                        <a:lnTo>
                          <a:pt x="538" y="80"/>
                        </a:lnTo>
                        <a:lnTo>
                          <a:pt x="538" y="78"/>
                        </a:lnTo>
                        <a:lnTo>
                          <a:pt x="535" y="75"/>
                        </a:lnTo>
                        <a:lnTo>
                          <a:pt x="535" y="73"/>
                        </a:lnTo>
                        <a:lnTo>
                          <a:pt x="533" y="73"/>
                        </a:lnTo>
                        <a:lnTo>
                          <a:pt x="530" y="73"/>
                        </a:lnTo>
                        <a:lnTo>
                          <a:pt x="528" y="73"/>
                        </a:lnTo>
                        <a:lnTo>
                          <a:pt x="528" y="71"/>
                        </a:lnTo>
                        <a:lnTo>
                          <a:pt x="526" y="71"/>
                        </a:lnTo>
                        <a:lnTo>
                          <a:pt x="526" y="68"/>
                        </a:lnTo>
                        <a:lnTo>
                          <a:pt x="528" y="66"/>
                        </a:lnTo>
                        <a:lnTo>
                          <a:pt x="530" y="59"/>
                        </a:lnTo>
                        <a:lnTo>
                          <a:pt x="533" y="56"/>
                        </a:lnTo>
                        <a:lnTo>
                          <a:pt x="533" y="56"/>
                        </a:lnTo>
                        <a:lnTo>
                          <a:pt x="535" y="54"/>
                        </a:lnTo>
                        <a:lnTo>
                          <a:pt x="538" y="52"/>
                        </a:lnTo>
                        <a:lnTo>
                          <a:pt x="556" y="47"/>
                        </a:lnTo>
                        <a:lnTo>
                          <a:pt x="556" y="45"/>
                        </a:lnTo>
                        <a:lnTo>
                          <a:pt x="559" y="45"/>
                        </a:lnTo>
                        <a:lnTo>
                          <a:pt x="556" y="40"/>
                        </a:lnTo>
                        <a:lnTo>
                          <a:pt x="556" y="35"/>
                        </a:lnTo>
                        <a:lnTo>
                          <a:pt x="556" y="30"/>
                        </a:lnTo>
                        <a:lnTo>
                          <a:pt x="552" y="21"/>
                        </a:lnTo>
                        <a:lnTo>
                          <a:pt x="547" y="2"/>
                        </a:lnTo>
                        <a:lnTo>
                          <a:pt x="545" y="2"/>
                        </a:lnTo>
                        <a:lnTo>
                          <a:pt x="542" y="2"/>
                        </a:lnTo>
                        <a:lnTo>
                          <a:pt x="538" y="4"/>
                        </a:lnTo>
                        <a:lnTo>
                          <a:pt x="535" y="4"/>
                        </a:lnTo>
                        <a:lnTo>
                          <a:pt x="533" y="4"/>
                        </a:lnTo>
                        <a:lnTo>
                          <a:pt x="526" y="2"/>
                        </a:lnTo>
                        <a:lnTo>
                          <a:pt x="523" y="0"/>
                        </a:lnTo>
                        <a:lnTo>
                          <a:pt x="509" y="2"/>
                        </a:lnTo>
                        <a:lnTo>
                          <a:pt x="493" y="7"/>
                        </a:lnTo>
                        <a:lnTo>
                          <a:pt x="488" y="7"/>
                        </a:lnTo>
                        <a:lnTo>
                          <a:pt x="483" y="4"/>
                        </a:lnTo>
                        <a:lnTo>
                          <a:pt x="474" y="0"/>
                        </a:lnTo>
                        <a:lnTo>
                          <a:pt x="464" y="0"/>
                        </a:lnTo>
                        <a:lnTo>
                          <a:pt x="459" y="7"/>
                        </a:lnTo>
                        <a:lnTo>
                          <a:pt x="455" y="9"/>
                        </a:lnTo>
                        <a:close/>
                        <a:moveTo>
                          <a:pt x="509" y="567"/>
                        </a:moveTo>
                        <a:lnTo>
                          <a:pt x="509" y="567"/>
                        </a:lnTo>
                        <a:lnTo>
                          <a:pt x="509" y="567"/>
                        </a:lnTo>
                        <a:lnTo>
                          <a:pt x="509" y="567"/>
                        </a:lnTo>
                        <a:lnTo>
                          <a:pt x="509" y="567"/>
                        </a:lnTo>
                        <a:close/>
                        <a:moveTo>
                          <a:pt x="521" y="534"/>
                        </a:moveTo>
                        <a:lnTo>
                          <a:pt x="521" y="534"/>
                        </a:lnTo>
                        <a:lnTo>
                          <a:pt x="509" y="567"/>
                        </a:lnTo>
                        <a:lnTo>
                          <a:pt x="509" y="565"/>
                        </a:lnTo>
                        <a:lnTo>
                          <a:pt x="509" y="556"/>
                        </a:lnTo>
                        <a:lnTo>
                          <a:pt x="514" y="541"/>
                        </a:lnTo>
                        <a:lnTo>
                          <a:pt x="519" y="532"/>
                        </a:lnTo>
                        <a:lnTo>
                          <a:pt x="523" y="527"/>
                        </a:lnTo>
                        <a:lnTo>
                          <a:pt x="530" y="530"/>
                        </a:lnTo>
                        <a:lnTo>
                          <a:pt x="538" y="534"/>
                        </a:lnTo>
                        <a:lnTo>
                          <a:pt x="533" y="532"/>
                        </a:lnTo>
                        <a:lnTo>
                          <a:pt x="528" y="532"/>
                        </a:lnTo>
                        <a:lnTo>
                          <a:pt x="521" y="534"/>
                        </a:lnTo>
                        <a:close/>
                      </a:path>
                    </a:pathLst>
                  </a:custGeom>
                  <a:solidFill>
                    <a:schemeClr val="bg2">
                      <a:lumMod val="20000"/>
                      <a:lumOff val="80000"/>
                    </a:schemeClr>
                  </a:solidFill>
                  <a:ln w="3175" cap="rnd">
                    <a:solidFill>
                      <a:schemeClr val="bg1">
                        <a:lumMod val="65000"/>
                      </a:schemeClr>
                    </a:solidFill>
                  </a:ln>
                </p:spPr>
                <p:txBody>
                  <a:bodyPr lIns="134408" tIns="67204" rIns="134408" bIns="67204"/>
                  <a:lstStyle/>
                  <a:p>
                    <a:pPr defTabSz="1219170" eaLnBrk="1" fontAlgn="auto" hangingPunct="1">
                      <a:lnSpc>
                        <a:spcPct val="8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2000" b="1">
                      <a:latin typeface="+mn-lt"/>
                    </a:endParaRPr>
                  </a:p>
                </p:txBody>
              </p:sp>
            </p:grpSp>
            <p:sp>
              <p:nvSpPr>
                <p:cNvPr id="18" name="Freeform 59">
                  <a:extLst>
                    <a:ext uri="{FF2B5EF4-FFF2-40B4-BE49-F238E27FC236}">
                      <a16:creationId xmlns:a16="http://schemas.microsoft.com/office/drawing/2014/main" id="{0A4EFB05-228A-4B00-82BB-10D6890023A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519431" y="1213483"/>
                  <a:ext cx="5032262" cy="6175957"/>
                </a:xfrm>
                <a:custGeom>
                  <a:avLst/>
                  <a:gdLst>
                    <a:gd name="T0" fmla="*/ 2077 w 3960"/>
                    <a:gd name="T1" fmla="*/ 4332 h 4860"/>
                    <a:gd name="T2" fmla="*/ 3097 w 3960"/>
                    <a:gd name="T3" fmla="*/ 3778 h 4860"/>
                    <a:gd name="T4" fmla="*/ 3182 w 3960"/>
                    <a:gd name="T5" fmla="*/ 4065 h 4860"/>
                    <a:gd name="T6" fmla="*/ 2877 w 3960"/>
                    <a:gd name="T7" fmla="*/ 4150 h 4860"/>
                    <a:gd name="T8" fmla="*/ 2233 w 3960"/>
                    <a:gd name="T9" fmla="*/ 3958 h 4860"/>
                    <a:gd name="T10" fmla="*/ 2266 w 3960"/>
                    <a:gd name="T11" fmla="*/ 3734 h 4860"/>
                    <a:gd name="T12" fmla="*/ 2567 w 3960"/>
                    <a:gd name="T13" fmla="*/ 3752 h 4860"/>
                    <a:gd name="T14" fmla="*/ 3054 w 3960"/>
                    <a:gd name="T15" fmla="*/ 3596 h 4860"/>
                    <a:gd name="T16" fmla="*/ 2959 w 3960"/>
                    <a:gd name="T17" fmla="*/ 3459 h 4860"/>
                    <a:gd name="T18" fmla="*/ 3026 w 3960"/>
                    <a:gd name="T19" fmla="*/ 3336 h 4860"/>
                    <a:gd name="T20" fmla="*/ 752 w 3960"/>
                    <a:gd name="T21" fmla="*/ 3532 h 4860"/>
                    <a:gd name="T22" fmla="*/ 664 w 3960"/>
                    <a:gd name="T23" fmla="*/ 2730 h 4860"/>
                    <a:gd name="T24" fmla="*/ 981 w 3960"/>
                    <a:gd name="T25" fmla="*/ 2603 h 4860"/>
                    <a:gd name="T26" fmla="*/ 1076 w 3960"/>
                    <a:gd name="T27" fmla="*/ 2629 h 4860"/>
                    <a:gd name="T28" fmla="*/ 1097 w 3960"/>
                    <a:gd name="T29" fmla="*/ 2719 h 4860"/>
                    <a:gd name="T30" fmla="*/ 1164 w 3960"/>
                    <a:gd name="T31" fmla="*/ 2941 h 4860"/>
                    <a:gd name="T32" fmla="*/ 1173 w 3960"/>
                    <a:gd name="T33" fmla="*/ 3253 h 4860"/>
                    <a:gd name="T34" fmla="*/ 1050 w 3960"/>
                    <a:gd name="T35" fmla="*/ 3445 h 4860"/>
                    <a:gd name="T36" fmla="*/ 929 w 3960"/>
                    <a:gd name="T37" fmla="*/ 3596 h 4860"/>
                    <a:gd name="T38" fmla="*/ 776 w 3960"/>
                    <a:gd name="T39" fmla="*/ 3476 h 4860"/>
                    <a:gd name="T40" fmla="*/ 809 w 3960"/>
                    <a:gd name="T41" fmla="*/ 3218 h 4860"/>
                    <a:gd name="T42" fmla="*/ 752 w 3960"/>
                    <a:gd name="T43" fmla="*/ 3005 h 4860"/>
                    <a:gd name="T44" fmla="*/ 655 w 3960"/>
                    <a:gd name="T45" fmla="*/ 2745 h 4860"/>
                    <a:gd name="T46" fmla="*/ 967 w 3960"/>
                    <a:gd name="T47" fmla="*/ 2588 h 4860"/>
                    <a:gd name="T48" fmla="*/ 1164 w 3960"/>
                    <a:gd name="T49" fmla="*/ 1983 h 4860"/>
                    <a:gd name="T50" fmla="*/ 1213 w 3960"/>
                    <a:gd name="T51" fmla="*/ 1888 h 4860"/>
                    <a:gd name="T52" fmla="*/ 1563 w 3960"/>
                    <a:gd name="T53" fmla="*/ 85 h 4860"/>
                    <a:gd name="T54" fmla="*/ 2001 w 3960"/>
                    <a:gd name="T55" fmla="*/ 196 h 4860"/>
                    <a:gd name="T56" fmla="*/ 2006 w 3960"/>
                    <a:gd name="T57" fmla="*/ 400 h 4860"/>
                    <a:gd name="T58" fmla="*/ 1975 w 3960"/>
                    <a:gd name="T59" fmla="*/ 532 h 4860"/>
                    <a:gd name="T60" fmla="*/ 1713 w 3960"/>
                    <a:gd name="T61" fmla="*/ 660 h 4860"/>
                    <a:gd name="T62" fmla="*/ 1672 w 3960"/>
                    <a:gd name="T63" fmla="*/ 667 h 4860"/>
                    <a:gd name="T64" fmla="*/ 1694 w 3960"/>
                    <a:gd name="T65" fmla="*/ 795 h 4860"/>
                    <a:gd name="T66" fmla="*/ 1769 w 3960"/>
                    <a:gd name="T67" fmla="*/ 894 h 4860"/>
                    <a:gd name="T68" fmla="*/ 1748 w 3960"/>
                    <a:gd name="T69" fmla="*/ 1145 h 4860"/>
                    <a:gd name="T70" fmla="*/ 2261 w 3960"/>
                    <a:gd name="T71" fmla="*/ 1545 h 4860"/>
                    <a:gd name="T72" fmla="*/ 3092 w 3960"/>
                    <a:gd name="T73" fmla="*/ 1978 h 4860"/>
                    <a:gd name="T74" fmla="*/ 3726 w 3960"/>
                    <a:gd name="T75" fmla="*/ 2361 h 4860"/>
                    <a:gd name="T76" fmla="*/ 3910 w 3960"/>
                    <a:gd name="T77" fmla="*/ 2688 h 4860"/>
                    <a:gd name="T78" fmla="*/ 3530 w 3960"/>
                    <a:gd name="T79" fmla="*/ 2496 h 4860"/>
                    <a:gd name="T80" fmla="*/ 3470 w 3960"/>
                    <a:gd name="T81" fmla="*/ 2891 h 4860"/>
                    <a:gd name="T82" fmla="*/ 3482 w 3960"/>
                    <a:gd name="T83" fmla="*/ 3215 h 4860"/>
                    <a:gd name="T84" fmla="*/ 3210 w 3960"/>
                    <a:gd name="T85" fmla="*/ 3525 h 4860"/>
                    <a:gd name="T86" fmla="*/ 3132 w 3960"/>
                    <a:gd name="T87" fmla="*/ 2875 h 4860"/>
                    <a:gd name="T88" fmla="*/ 2827 w 3960"/>
                    <a:gd name="T89" fmla="*/ 2711 h 4860"/>
                    <a:gd name="T90" fmla="*/ 2586 w 3960"/>
                    <a:gd name="T91" fmla="*/ 2527 h 4860"/>
                    <a:gd name="T92" fmla="*/ 2164 w 3960"/>
                    <a:gd name="T93" fmla="*/ 2418 h 4860"/>
                    <a:gd name="T94" fmla="*/ 1708 w 3960"/>
                    <a:gd name="T95" fmla="*/ 2111 h 4860"/>
                    <a:gd name="T96" fmla="*/ 1450 w 3960"/>
                    <a:gd name="T97" fmla="*/ 1917 h 4860"/>
                    <a:gd name="T98" fmla="*/ 1097 w 3960"/>
                    <a:gd name="T99" fmla="*/ 1379 h 4860"/>
                    <a:gd name="T100" fmla="*/ 889 w 3960"/>
                    <a:gd name="T101" fmla="*/ 1313 h 4860"/>
                    <a:gd name="T102" fmla="*/ 544 w 3960"/>
                    <a:gd name="T103" fmla="*/ 1389 h 4860"/>
                    <a:gd name="T104" fmla="*/ 321 w 3960"/>
                    <a:gd name="T105" fmla="*/ 1408 h 4860"/>
                    <a:gd name="T106" fmla="*/ 139 w 3960"/>
                    <a:gd name="T107" fmla="*/ 1174 h 4860"/>
                    <a:gd name="T108" fmla="*/ 99 w 3960"/>
                    <a:gd name="T109" fmla="*/ 980 h 4860"/>
                    <a:gd name="T110" fmla="*/ 47 w 3960"/>
                    <a:gd name="T111" fmla="*/ 708 h 4860"/>
                    <a:gd name="T112" fmla="*/ 376 w 3960"/>
                    <a:gd name="T113" fmla="*/ 611 h 4860"/>
                    <a:gd name="T114" fmla="*/ 575 w 3960"/>
                    <a:gd name="T115" fmla="*/ 549 h 4860"/>
                    <a:gd name="T116" fmla="*/ 688 w 3960"/>
                    <a:gd name="T117" fmla="*/ 551 h 4860"/>
                    <a:gd name="T118" fmla="*/ 866 w 3960"/>
                    <a:gd name="T119" fmla="*/ 421 h 4860"/>
                    <a:gd name="T120" fmla="*/ 963 w 3960"/>
                    <a:gd name="T121" fmla="*/ 284 h 4860"/>
                    <a:gd name="T122" fmla="*/ 1145 w 3960"/>
                    <a:gd name="T123" fmla="*/ 182 h 4860"/>
                    <a:gd name="T124" fmla="*/ 1386 w 3960"/>
                    <a:gd name="T125" fmla="*/ 62 h 48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960" h="4860">
                      <a:moveTo>
                        <a:pt x="2368" y="4857"/>
                      </a:moveTo>
                      <a:lnTo>
                        <a:pt x="2368" y="4857"/>
                      </a:lnTo>
                      <a:lnTo>
                        <a:pt x="2366" y="4860"/>
                      </a:lnTo>
                      <a:lnTo>
                        <a:pt x="2363" y="4860"/>
                      </a:lnTo>
                      <a:lnTo>
                        <a:pt x="2361" y="4857"/>
                      </a:lnTo>
                      <a:lnTo>
                        <a:pt x="2358" y="4860"/>
                      </a:lnTo>
                      <a:lnTo>
                        <a:pt x="2344" y="4855"/>
                      </a:lnTo>
                      <a:lnTo>
                        <a:pt x="2337" y="4855"/>
                      </a:lnTo>
                      <a:lnTo>
                        <a:pt x="2335" y="4853"/>
                      </a:lnTo>
                      <a:lnTo>
                        <a:pt x="2337" y="4850"/>
                      </a:lnTo>
                      <a:lnTo>
                        <a:pt x="2344" y="4850"/>
                      </a:lnTo>
                      <a:lnTo>
                        <a:pt x="2349" y="4850"/>
                      </a:lnTo>
                      <a:lnTo>
                        <a:pt x="2363" y="4848"/>
                      </a:lnTo>
                      <a:lnTo>
                        <a:pt x="2368" y="4850"/>
                      </a:lnTo>
                      <a:lnTo>
                        <a:pt x="2368" y="4850"/>
                      </a:lnTo>
                      <a:lnTo>
                        <a:pt x="2368" y="4850"/>
                      </a:lnTo>
                      <a:lnTo>
                        <a:pt x="2368" y="4850"/>
                      </a:lnTo>
                      <a:lnTo>
                        <a:pt x="2368" y="4855"/>
                      </a:lnTo>
                      <a:lnTo>
                        <a:pt x="2368" y="4857"/>
                      </a:lnTo>
                      <a:moveTo>
                        <a:pt x="2434" y="4694"/>
                      </a:moveTo>
                      <a:lnTo>
                        <a:pt x="2434" y="4694"/>
                      </a:lnTo>
                      <a:lnTo>
                        <a:pt x="2429" y="4694"/>
                      </a:lnTo>
                      <a:lnTo>
                        <a:pt x="2427" y="4694"/>
                      </a:lnTo>
                      <a:lnTo>
                        <a:pt x="2425" y="4692"/>
                      </a:lnTo>
                      <a:lnTo>
                        <a:pt x="2425" y="4689"/>
                      </a:lnTo>
                      <a:lnTo>
                        <a:pt x="2427" y="4687"/>
                      </a:lnTo>
                      <a:lnTo>
                        <a:pt x="2427" y="4687"/>
                      </a:lnTo>
                      <a:lnTo>
                        <a:pt x="2432" y="4687"/>
                      </a:lnTo>
                      <a:lnTo>
                        <a:pt x="2434" y="4689"/>
                      </a:lnTo>
                      <a:lnTo>
                        <a:pt x="2434" y="4692"/>
                      </a:lnTo>
                      <a:lnTo>
                        <a:pt x="2434" y="4694"/>
                      </a:lnTo>
                      <a:moveTo>
                        <a:pt x="2082" y="4334"/>
                      </a:moveTo>
                      <a:lnTo>
                        <a:pt x="2082" y="4334"/>
                      </a:lnTo>
                      <a:lnTo>
                        <a:pt x="2084" y="4334"/>
                      </a:lnTo>
                      <a:lnTo>
                        <a:pt x="2084" y="4334"/>
                      </a:lnTo>
                      <a:lnTo>
                        <a:pt x="2086" y="4330"/>
                      </a:lnTo>
                      <a:lnTo>
                        <a:pt x="2101" y="4339"/>
                      </a:lnTo>
                      <a:lnTo>
                        <a:pt x="2108" y="4346"/>
                      </a:lnTo>
                      <a:lnTo>
                        <a:pt x="2108" y="4356"/>
                      </a:lnTo>
                      <a:lnTo>
                        <a:pt x="2103" y="4368"/>
                      </a:lnTo>
                      <a:lnTo>
                        <a:pt x="2091" y="4368"/>
                      </a:lnTo>
                      <a:lnTo>
                        <a:pt x="2077" y="4361"/>
                      </a:lnTo>
                      <a:lnTo>
                        <a:pt x="2067" y="4351"/>
                      </a:lnTo>
                      <a:lnTo>
                        <a:pt x="2067" y="4349"/>
                      </a:lnTo>
                      <a:lnTo>
                        <a:pt x="2063" y="4342"/>
                      </a:lnTo>
                      <a:lnTo>
                        <a:pt x="2060" y="4337"/>
                      </a:lnTo>
                      <a:lnTo>
                        <a:pt x="2065" y="4332"/>
                      </a:lnTo>
                      <a:lnTo>
                        <a:pt x="2067" y="4332"/>
                      </a:lnTo>
                      <a:lnTo>
                        <a:pt x="2070" y="4330"/>
                      </a:lnTo>
                      <a:lnTo>
                        <a:pt x="2070" y="4327"/>
                      </a:lnTo>
                      <a:lnTo>
                        <a:pt x="2072" y="4330"/>
                      </a:lnTo>
                      <a:lnTo>
                        <a:pt x="2077" y="4332"/>
                      </a:lnTo>
                      <a:lnTo>
                        <a:pt x="2077" y="4332"/>
                      </a:lnTo>
                      <a:lnTo>
                        <a:pt x="2082" y="4334"/>
                      </a:lnTo>
                      <a:moveTo>
                        <a:pt x="2134" y="3849"/>
                      </a:moveTo>
                      <a:lnTo>
                        <a:pt x="2134" y="3849"/>
                      </a:lnTo>
                      <a:lnTo>
                        <a:pt x="2138" y="3852"/>
                      </a:lnTo>
                      <a:lnTo>
                        <a:pt x="2145" y="3854"/>
                      </a:lnTo>
                      <a:lnTo>
                        <a:pt x="2150" y="3854"/>
                      </a:lnTo>
                      <a:lnTo>
                        <a:pt x="2145" y="3859"/>
                      </a:lnTo>
                      <a:lnTo>
                        <a:pt x="2141" y="3859"/>
                      </a:lnTo>
                      <a:lnTo>
                        <a:pt x="2136" y="3859"/>
                      </a:lnTo>
                      <a:lnTo>
                        <a:pt x="2131" y="3857"/>
                      </a:lnTo>
                      <a:lnTo>
                        <a:pt x="2127" y="3859"/>
                      </a:lnTo>
                      <a:lnTo>
                        <a:pt x="2124" y="3859"/>
                      </a:lnTo>
                      <a:lnTo>
                        <a:pt x="2119" y="3857"/>
                      </a:lnTo>
                      <a:lnTo>
                        <a:pt x="2117" y="3852"/>
                      </a:lnTo>
                      <a:lnTo>
                        <a:pt x="2122" y="3852"/>
                      </a:lnTo>
                      <a:lnTo>
                        <a:pt x="2124" y="3849"/>
                      </a:lnTo>
                      <a:lnTo>
                        <a:pt x="2127" y="3847"/>
                      </a:lnTo>
                      <a:lnTo>
                        <a:pt x="2131" y="3847"/>
                      </a:lnTo>
                      <a:lnTo>
                        <a:pt x="2134" y="3849"/>
                      </a:lnTo>
                      <a:moveTo>
                        <a:pt x="2051" y="3854"/>
                      </a:moveTo>
                      <a:lnTo>
                        <a:pt x="2051" y="3854"/>
                      </a:lnTo>
                      <a:lnTo>
                        <a:pt x="2053" y="3857"/>
                      </a:lnTo>
                      <a:lnTo>
                        <a:pt x="2048" y="3859"/>
                      </a:lnTo>
                      <a:lnTo>
                        <a:pt x="2041" y="3854"/>
                      </a:lnTo>
                      <a:lnTo>
                        <a:pt x="2037" y="3849"/>
                      </a:lnTo>
                      <a:lnTo>
                        <a:pt x="2034" y="3845"/>
                      </a:lnTo>
                      <a:lnTo>
                        <a:pt x="2037" y="3842"/>
                      </a:lnTo>
                      <a:lnTo>
                        <a:pt x="2041" y="3840"/>
                      </a:lnTo>
                      <a:lnTo>
                        <a:pt x="2046" y="3842"/>
                      </a:lnTo>
                      <a:lnTo>
                        <a:pt x="2048" y="3849"/>
                      </a:lnTo>
                      <a:lnTo>
                        <a:pt x="2051" y="3854"/>
                      </a:lnTo>
                      <a:moveTo>
                        <a:pt x="3196" y="3523"/>
                      </a:moveTo>
                      <a:lnTo>
                        <a:pt x="3196" y="3523"/>
                      </a:lnTo>
                      <a:lnTo>
                        <a:pt x="3194" y="3525"/>
                      </a:lnTo>
                      <a:lnTo>
                        <a:pt x="3191" y="3525"/>
                      </a:lnTo>
                      <a:lnTo>
                        <a:pt x="3179" y="3537"/>
                      </a:lnTo>
                      <a:lnTo>
                        <a:pt x="3175" y="3544"/>
                      </a:lnTo>
                      <a:lnTo>
                        <a:pt x="3175" y="3549"/>
                      </a:lnTo>
                      <a:lnTo>
                        <a:pt x="3175" y="3556"/>
                      </a:lnTo>
                      <a:lnTo>
                        <a:pt x="3179" y="3554"/>
                      </a:lnTo>
                      <a:lnTo>
                        <a:pt x="3168" y="3584"/>
                      </a:lnTo>
                      <a:lnTo>
                        <a:pt x="3163" y="3606"/>
                      </a:lnTo>
                      <a:lnTo>
                        <a:pt x="3134" y="3660"/>
                      </a:lnTo>
                      <a:lnTo>
                        <a:pt x="3113" y="3712"/>
                      </a:lnTo>
                      <a:lnTo>
                        <a:pt x="3111" y="3726"/>
                      </a:lnTo>
                      <a:lnTo>
                        <a:pt x="3106" y="3736"/>
                      </a:lnTo>
                      <a:lnTo>
                        <a:pt x="3099" y="3743"/>
                      </a:lnTo>
                      <a:lnTo>
                        <a:pt x="3092" y="3760"/>
                      </a:lnTo>
                      <a:lnTo>
                        <a:pt x="3089" y="3767"/>
                      </a:lnTo>
                      <a:lnTo>
                        <a:pt x="3092" y="3771"/>
                      </a:lnTo>
                      <a:lnTo>
                        <a:pt x="3097" y="3778"/>
                      </a:lnTo>
                      <a:lnTo>
                        <a:pt x="3099" y="3783"/>
                      </a:lnTo>
                      <a:lnTo>
                        <a:pt x="3097" y="3788"/>
                      </a:lnTo>
                      <a:lnTo>
                        <a:pt x="3094" y="3793"/>
                      </a:lnTo>
                      <a:lnTo>
                        <a:pt x="3094" y="3797"/>
                      </a:lnTo>
                      <a:lnTo>
                        <a:pt x="3094" y="3805"/>
                      </a:lnTo>
                      <a:lnTo>
                        <a:pt x="3092" y="3819"/>
                      </a:lnTo>
                      <a:lnTo>
                        <a:pt x="3092" y="3828"/>
                      </a:lnTo>
                      <a:lnTo>
                        <a:pt x="3089" y="3845"/>
                      </a:lnTo>
                      <a:lnTo>
                        <a:pt x="3075" y="3866"/>
                      </a:lnTo>
                      <a:lnTo>
                        <a:pt x="3073" y="3878"/>
                      </a:lnTo>
                      <a:lnTo>
                        <a:pt x="3071" y="3887"/>
                      </a:lnTo>
                      <a:lnTo>
                        <a:pt x="3073" y="3894"/>
                      </a:lnTo>
                      <a:lnTo>
                        <a:pt x="3080" y="3935"/>
                      </a:lnTo>
                      <a:lnTo>
                        <a:pt x="3082" y="3942"/>
                      </a:lnTo>
                      <a:lnTo>
                        <a:pt x="3085" y="3946"/>
                      </a:lnTo>
                      <a:lnTo>
                        <a:pt x="3087" y="3949"/>
                      </a:lnTo>
                      <a:lnTo>
                        <a:pt x="3113" y="3958"/>
                      </a:lnTo>
                      <a:lnTo>
                        <a:pt x="3125" y="3958"/>
                      </a:lnTo>
                      <a:lnTo>
                        <a:pt x="3132" y="3961"/>
                      </a:lnTo>
                      <a:lnTo>
                        <a:pt x="3139" y="3968"/>
                      </a:lnTo>
                      <a:lnTo>
                        <a:pt x="3144" y="3977"/>
                      </a:lnTo>
                      <a:lnTo>
                        <a:pt x="3137" y="3972"/>
                      </a:lnTo>
                      <a:lnTo>
                        <a:pt x="3134" y="3975"/>
                      </a:lnTo>
                      <a:lnTo>
                        <a:pt x="3132" y="3980"/>
                      </a:lnTo>
                      <a:lnTo>
                        <a:pt x="3132" y="3984"/>
                      </a:lnTo>
                      <a:lnTo>
                        <a:pt x="3130" y="3977"/>
                      </a:lnTo>
                      <a:lnTo>
                        <a:pt x="3127" y="3975"/>
                      </a:lnTo>
                      <a:lnTo>
                        <a:pt x="3125" y="3977"/>
                      </a:lnTo>
                      <a:lnTo>
                        <a:pt x="3120" y="3980"/>
                      </a:lnTo>
                      <a:lnTo>
                        <a:pt x="3123" y="3984"/>
                      </a:lnTo>
                      <a:lnTo>
                        <a:pt x="3120" y="3994"/>
                      </a:lnTo>
                      <a:lnTo>
                        <a:pt x="3125" y="4006"/>
                      </a:lnTo>
                      <a:lnTo>
                        <a:pt x="3134" y="4013"/>
                      </a:lnTo>
                      <a:lnTo>
                        <a:pt x="3139" y="4008"/>
                      </a:lnTo>
                      <a:lnTo>
                        <a:pt x="3144" y="4010"/>
                      </a:lnTo>
                      <a:lnTo>
                        <a:pt x="3144" y="4013"/>
                      </a:lnTo>
                      <a:lnTo>
                        <a:pt x="3139" y="4015"/>
                      </a:lnTo>
                      <a:lnTo>
                        <a:pt x="3142" y="4020"/>
                      </a:lnTo>
                      <a:lnTo>
                        <a:pt x="3146" y="4027"/>
                      </a:lnTo>
                      <a:lnTo>
                        <a:pt x="3153" y="4029"/>
                      </a:lnTo>
                      <a:lnTo>
                        <a:pt x="3160" y="4027"/>
                      </a:lnTo>
                      <a:lnTo>
                        <a:pt x="3168" y="4029"/>
                      </a:lnTo>
                      <a:lnTo>
                        <a:pt x="3170" y="4036"/>
                      </a:lnTo>
                      <a:lnTo>
                        <a:pt x="3170" y="4046"/>
                      </a:lnTo>
                      <a:lnTo>
                        <a:pt x="3163" y="4043"/>
                      </a:lnTo>
                      <a:lnTo>
                        <a:pt x="3163" y="4048"/>
                      </a:lnTo>
                      <a:lnTo>
                        <a:pt x="3163" y="4053"/>
                      </a:lnTo>
                      <a:lnTo>
                        <a:pt x="3168" y="4055"/>
                      </a:lnTo>
                      <a:lnTo>
                        <a:pt x="3172" y="4053"/>
                      </a:lnTo>
                      <a:lnTo>
                        <a:pt x="3177" y="4053"/>
                      </a:lnTo>
                      <a:lnTo>
                        <a:pt x="3179" y="4058"/>
                      </a:lnTo>
                      <a:lnTo>
                        <a:pt x="3182" y="4065"/>
                      </a:lnTo>
                      <a:lnTo>
                        <a:pt x="3179" y="4067"/>
                      </a:lnTo>
                      <a:lnTo>
                        <a:pt x="3177" y="4067"/>
                      </a:lnTo>
                      <a:lnTo>
                        <a:pt x="3175" y="4065"/>
                      </a:lnTo>
                      <a:lnTo>
                        <a:pt x="3172" y="4065"/>
                      </a:lnTo>
                      <a:lnTo>
                        <a:pt x="3160" y="4074"/>
                      </a:lnTo>
                      <a:lnTo>
                        <a:pt x="3165" y="4077"/>
                      </a:lnTo>
                      <a:lnTo>
                        <a:pt x="3163" y="4079"/>
                      </a:lnTo>
                      <a:lnTo>
                        <a:pt x="3160" y="4079"/>
                      </a:lnTo>
                      <a:lnTo>
                        <a:pt x="3163" y="4081"/>
                      </a:lnTo>
                      <a:lnTo>
                        <a:pt x="3163" y="4086"/>
                      </a:lnTo>
                      <a:lnTo>
                        <a:pt x="3156" y="4088"/>
                      </a:lnTo>
                      <a:lnTo>
                        <a:pt x="3151" y="4091"/>
                      </a:lnTo>
                      <a:lnTo>
                        <a:pt x="3146" y="4096"/>
                      </a:lnTo>
                      <a:lnTo>
                        <a:pt x="3142" y="4098"/>
                      </a:lnTo>
                      <a:lnTo>
                        <a:pt x="3134" y="4103"/>
                      </a:lnTo>
                      <a:lnTo>
                        <a:pt x="3130" y="4112"/>
                      </a:lnTo>
                      <a:lnTo>
                        <a:pt x="3120" y="4159"/>
                      </a:lnTo>
                      <a:lnTo>
                        <a:pt x="3120" y="4164"/>
                      </a:lnTo>
                      <a:lnTo>
                        <a:pt x="3118" y="4169"/>
                      </a:lnTo>
                      <a:lnTo>
                        <a:pt x="3120" y="4176"/>
                      </a:lnTo>
                      <a:lnTo>
                        <a:pt x="3130" y="4190"/>
                      </a:lnTo>
                      <a:lnTo>
                        <a:pt x="3139" y="4214"/>
                      </a:lnTo>
                      <a:lnTo>
                        <a:pt x="3139" y="4219"/>
                      </a:lnTo>
                      <a:lnTo>
                        <a:pt x="3134" y="4226"/>
                      </a:lnTo>
                      <a:lnTo>
                        <a:pt x="3127" y="4228"/>
                      </a:lnTo>
                      <a:lnTo>
                        <a:pt x="3120" y="4228"/>
                      </a:lnTo>
                      <a:lnTo>
                        <a:pt x="3113" y="4226"/>
                      </a:lnTo>
                      <a:lnTo>
                        <a:pt x="3108" y="4219"/>
                      </a:lnTo>
                      <a:lnTo>
                        <a:pt x="3104" y="4216"/>
                      </a:lnTo>
                      <a:lnTo>
                        <a:pt x="3101" y="4216"/>
                      </a:lnTo>
                      <a:lnTo>
                        <a:pt x="3097" y="4214"/>
                      </a:lnTo>
                      <a:lnTo>
                        <a:pt x="3092" y="4216"/>
                      </a:lnTo>
                      <a:lnTo>
                        <a:pt x="3092" y="4219"/>
                      </a:lnTo>
                      <a:lnTo>
                        <a:pt x="3087" y="4221"/>
                      </a:lnTo>
                      <a:lnTo>
                        <a:pt x="3080" y="4219"/>
                      </a:lnTo>
                      <a:lnTo>
                        <a:pt x="3066" y="4214"/>
                      </a:lnTo>
                      <a:lnTo>
                        <a:pt x="3052" y="4211"/>
                      </a:lnTo>
                      <a:lnTo>
                        <a:pt x="3040" y="4214"/>
                      </a:lnTo>
                      <a:lnTo>
                        <a:pt x="3021" y="4230"/>
                      </a:lnTo>
                      <a:lnTo>
                        <a:pt x="3018" y="4226"/>
                      </a:lnTo>
                      <a:lnTo>
                        <a:pt x="3018" y="4226"/>
                      </a:lnTo>
                      <a:lnTo>
                        <a:pt x="3014" y="4228"/>
                      </a:lnTo>
                      <a:lnTo>
                        <a:pt x="3007" y="4223"/>
                      </a:lnTo>
                      <a:lnTo>
                        <a:pt x="2988" y="4226"/>
                      </a:lnTo>
                      <a:lnTo>
                        <a:pt x="2981" y="4219"/>
                      </a:lnTo>
                      <a:lnTo>
                        <a:pt x="2976" y="4214"/>
                      </a:lnTo>
                      <a:lnTo>
                        <a:pt x="2957" y="4211"/>
                      </a:lnTo>
                      <a:lnTo>
                        <a:pt x="2950" y="4209"/>
                      </a:lnTo>
                      <a:lnTo>
                        <a:pt x="2945" y="4209"/>
                      </a:lnTo>
                      <a:lnTo>
                        <a:pt x="2917" y="4209"/>
                      </a:lnTo>
                      <a:lnTo>
                        <a:pt x="2912" y="4204"/>
                      </a:lnTo>
                      <a:lnTo>
                        <a:pt x="2877" y="4150"/>
                      </a:lnTo>
                      <a:lnTo>
                        <a:pt x="2867" y="4140"/>
                      </a:lnTo>
                      <a:lnTo>
                        <a:pt x="2832" y="4117"/>
                      </a:lnTo>
                      <a:lnTo>
                        <a:pt x="2808" y="4105"/>
                      </a:lnTo>
                      <a:lnTo>
                        <a:pt x="2777" y="4098"/>
                      </a:lnTo>
                      <a:lnTo>
                        <a:pt x="2765" y="4098"/>
                      </a:lnTo>
                      <a:lnTo>
                        <a:pt x="2727" y="4107"/>
                      </a:lnTo>
                      <a:lnTo>
                        <a:pt x="2725" y="4107"/>
                      </a:lnTo>
                      <a:lnTo>
                        <a:pt x="2720" y="4112"/>
                      </a:lnTo>
                      <a:lnTo>
                        <a:pt x="2716" y="4114"/>
                      </a:lnTo>
                      <a:lnTo>
                        <a:pt x="2701" y="4114"/>
                      </a:lnTo>
                      <a:lnTo>
                        <a:pt x="2680" y="4103"/>
                      </a:lnTo>
                      <a:lnTo>
                        <a:pt x="2666" y="4100"/>
                      </a:lnTo>
                      <a:lnTo>
                        <a:pt x="2652" y="4100"/>
                      </a:lnTo>
                      <a:lnTo>
                        <a:pt x="2638" y="4096"/>
                      </a:lnTo>
                      <a:lnTo>
                        <a:pt x="2626" y="4091"/>
                      </a:lnTo>
                      <a:lnTo>
                        <a:pt x="2595" y="4067"/>
                      </a:lnTo>
                      <a:lnTo>
                        <a:pt x="2583" y="4062"/>
                      </a:lnTo>
                      <a:lnTo>
                        <a:pt x="2571" y="4060"/>
                      </a:lnTo>
                      <a:lnTo>
                        <a:pt x="2557" y="4060"/>
                      </a:lnTo>
                      <a:lnTo>
                        <a:pt x="2543" y="4058"/>
                      </a:lnTo>
                      <a:lnTo>
                        <a:pt x="2533" y="4053"/>
                      </a:lnTo>
                      <a:lnTo>
                        <a:pt x="2515" y="4043"/>
                      </a:lnTo>
                      <a:lnTo>
                        <a:pt x="2498" y="4036"/>
                      </a:lnTo>
                      <a:lnTo>
                        <a:pt x="2491" y="4032"/>
                      </a:lnTo>
                      <a:lnTo>
                        <a:pt x="2489" y="4029"/>
                      </a:lnTo>
                      <a:lnTo>
                        <a:pt x="2484" y="4029"/>
                      </a:lnTo>
                      <a:lnTo>
                        <a:pt x="2481" y="4027"/>
                      </a:lnTo>
                      <a:lnTo>
                        <a:pt x="2470" y="4013"/>
                      </a:lnTo>
                      <a:lnTo>
                        <a:pt x="2467" y="4013"/>
                      </a:lnTo>
                      <a:lnTo>
                        <a:pt x="2460" y="4008"/>
                      </a:lnTo>
                      <a:lnTo>
                        <a:pt x="2455" y="4003"/>
                      </a:lnTo>
                      <a:lnTo>
                        <a:pt x="2453" y="4003"/>
                      </a:lnTo>
                      <a:lnTo>
                        <a:pt x="2448" y="4001"/>
                      </a:lnTo>
                      <a:lnTo>
                        <a:pt x="2446" y="4001"/>
                      </a:lnTo>
                      <a:lnTo>
                        <a:pt x="2441" y="3996"/>
                      </a:lnTo>
                      <a:lnTo>
                        <a:pt x="2441" y="3994"/>
                      </a:lnTo>
                      <a:lnTo>
                        <a:pt x="2399" y="3996"/>
                      </a:lnTo>
                      <a:lnTo>
                        <a:pt x="2394" y="3999"/>
                      </a:lnTo>
                      <a:lnTo>
                        <a:pt x="2392" y="4001"/>
                      </a:lnTo>
                      <a:lnTo>
                        <a:pt x="2387" y="3999"/>
                      </a:lnTo>
                      <a:lnTo>
                        <a:pt x="2384" y="3996"/>
                      </a:lnTo>
                      <a:lnTo>
                        <a:pt x="2382" y="3987"/>
                      </a:lnTo>
                      <a:lnTo>
                        <a:pt x="2380" y="3984"/>
                      </a:lnTo>
                      <a:lnTo>
                        <a:pt x="2370" y="3975"/>
                      </a:lnTo>
                      <a:lnTo>
                        <a:pt x="2358" y="3972"/>
                      </a:lnTo>
                      <a:lnTo>
                        <a:pt x="2332" y="3975"/>
                      </a:lnTo>
                      <a:lnTo>
                        <a:pt x="2306" y="3980"/>
                      </a:lnTo>
                      <a:lnTo>
                        <a:pt x="2278" y="3989"/>
                      </a:lnTo>
                      <a:lnTo>
                        <a:pt x="2266" y="3989"/>
                      </a:lnTo>
                      <a:lnTo>
                        <a:pt x="2257" y="3984"/>
                      </a:lnTo>
                      <a:lnTo>
                        <a:pt x="2240" y="3963"/>
                      </a:lnTo>
                      <a:lnTo>
                        <a:pt x="2233" y="3958"/>
                      </a:lnTo>
                      <a:lnTo>
                        <a:pt x="2228" y="3956"/>
                      </a:lnTo>
                      <a:lnTo>
                        <a:pt x="2216" y="3958"/>
                      </a:lnTo>
                      <a:lnTo>
                        <a:pt x="2209" y="3956"/>
                      </a:lnTo>
                      <a:lnTo>
                        <a:pt x="2202" y="3949"/>
                      </a:lnTo>
                      <a:lnTo>
                        <a:pt x="2198" y="3942"/>
                      </a:lnTo>
                      <a:lnTo>
                        <a:pt x="2193" y="3935"/>
                      </a:lnTo>
                      <a:lnTo>
                        <a:pt x="2190" y="3928"/>
                      </a:lnTo>
                      <a:lnTo>
                        <a:pt x="2190" y="3923"/>
                      </a:lnTo>
                      <a:lnTo>
                        <a:pt x="2188" y="3918"/>
                      </a:lnTo>
                      <a:lnTo>
                        <a:pt x="2183" y="3913"/>
                      </a:lnTo>
                      <a:lnTo>
                        <a:pt x="2181" y="3909"/>
                      </a:lnTo>
                      <a:lnTo>
                        <a:pt x="2176" y="3904"/>
                      </a:lnTo>
                      <a:lnTo>
                        <a:pt x="2176" y="3899"/>
                      </a:lnTo>
                      <a:lnTo>
                        <a:pt x="2181" y="3894"/>
                      </a:lnTo>
                      <a:lnTo>
                        <a:pt x="2181" y="3897"/>
                      </a:lnTo>
                      <a:lnTo>
                        <a:pt x="2186" y="3892"/>
                      </a:lnTo>
                      <a:lnTo>
                        <a:pt x="2188" y="3892"/>
                      </a:lnTo>
                      <a:lnTo>
                        <a:pt x="2186" y="3890"/>
                      </a:lnTo>
                      <a:lnTo>
                        <a:pt x="2188" y="3878"/>
                      </a:lnTo>
                      <a:lnTo>
                        <a:pt x="2188" y="3878"/>
                      </a:lnTo>
                      <a:lnTo>
                        <a:pt x="2188" y="3871"/>
                      </a:lnTo>
                      <a:lnTo>
                        <a:pt x="2188" y="3866"/>
                      </a:lnTo>
                      <a:lnTo>
                        <a:pt x="2188" y="3864"/>
                      </a:lnTo>
                      <a:lnTo>
                        <a:pt x="2183" y="3859"/>
                      </a:lnTo>
                      <a:lnTo>
                        <a:pt x="2183" y="3857"/>
                      </a:lnTo>
                      <a:lnTo>
                        <a:pt x="2181" y="3854"/>
                      </a:lnTo>
                      <a:lnTo>
                        <a:pt x="2181" y="3854"/>
                      </a:lnTo>
                      <a:lnTo>
                        <a:pt x="2183" y="3852"/>
                      </a:lnTo>
                      <a:lnTo>
                        <a:pt x="2188" y="3835"/>
                      </a:lnTo>
                      <a:lnTo>
                        <a:pt x="2188" y="3823"/>
                      </a:lnTo>
                      <a:lnTo>
                        <a:pt x="2190" y="3816"/>
                      </a:lnTo>
                      <a:lnTo>
                        <a:pt x="2190" y="3809"/>
                      </a:lnTo>
                      <a:lnTo>
                        <a:pt x="2186" y="3807"/>
                      </a:lnTo>
                      <a:lnTo>
                        <a:pt x="2195" y="3800"/>
                      </a:lnTo>
                      <a:lnTo>
                        <a:pt x="2202" y="3790"/>
                      </a:lnTo>
                      <a:lnTo>
                        <a:pt x="2209" y="3781"/>
                      </a:lnTo>
                      <a:lnTo>
                        <a:pt x="2221" y="3783"/>
                      </a:lnTo>
                      <a:lnTo>
                        <a:pt x="2231" y="3774"/>
                      </a:lnTo>
                      <a:lnTo>
                        <a:pt x="2233" y="3769"/>
                      </a:lnTo>
                      <a:lnTo>
                        <a:pt x="2233" y="3762"/>
                      </a:lnTo>
                      <a:lnTo>
                        <a:pt x="2235" y="3757"/>
                      </a:lnTo>
                      <a:lnTo>
                        <a:pt x="2240" y="3757"/>
                      </a:lnTo>
                      <a:lnTo>
                        <a:pt x="2245" y="3757"/>
                      </a:lnTo>
                      <a:lnTo>
                        <a:pt x="2250" y="3757"/>
                      </a:lnTo>
                      <a:lnTo>
                        <a:pt x="2254" y="3750"/>
                      </a:lnTo>
                      <a:lnTo>
                        <a:pt x="2254" y="3741"/>
                      </a:lnTo>
                      <a:lnTo>
                        <a:pt x="2250" y="3731"/>
                      </a:lnTo>
                      <a:lnTo>
                        <a:pt x="2254" y="3722"/>
                      </a:lnTo>
                      <a:lnTo>
                        <a:pt x="2257" y="3726"/>
                      </a:lnTo>
                      <a:lnTo>
                        <a:pt x="2259" y="3726"/>
                      </a:lnTo>
                      <a:lnTo>
                        <a:pt x="2264" y="3726"/>
                      </a:lnTo>
                      <a:lnTo>
                        <a:pt x="2266" y="3734"/>
                      </a:lnTo>
                      <a:lnTo>
                        <a:pt x="2278" y="3750"/>
                      </a:lnTo>
                      <a:lnTo>
                        <a:pt x="2287" y="3767"/>
                      </a:lnTo>
                      <a:lnTo>
                        <a:pt x="2292" y="3769"/>
                      </a:lnTo>
                      <a:lnTo>
                        <a:pt x="2302" y="3771"/>
                      </a:lnTo>
                      <a:lnTo>
                        <a:pt x="2306" y="3774"/>
                      </a:lnTo>
                      <a:lnTo>
                        <a:pt x="2306" y="3778"/>
                      </a:lnTo>
                      <a:lnTo>
                        <a:pt x="2318" y="3783"/>
                      </a:lnTo>
                      <a:lnTo>
                        <a:pt x="2332" y="3778"/>
                      </a:lnTo>
                      <a:lnTo>
                        <a:pt x="2358" y="3762"/>
                      </a:lnTo>
                      <a:lnTo>
                        <a:pt x="2368" y="3750"/>
                      </a:lnTo>
                      <a:lnTo>
                        <a:pt x="2370" y="3748"/>
                      </a:lnTo>
                      <a:lnTo>
                        <a:pt x="2370" y="3745"/>
                      </a:lnTo>
                      <a:lnTo>
                        <a:pt x="2370" y="3743"/>
                      </a:lnTo>
                      <a:lnTo>
                        <a:pt x="2368" y="3738"/>
                      </a:lnTo>
                      <a:lnTo>
                        <a:pt x="2368" y="3734"/>
                      </a:lnTo>
                      <a:lnTo>
                        <a:pt x="2363" y="3731"/>
                      </a:lnTo>
                      <a:lnTo>
                        <a:pt x="2363" y="3726"/>
                      </a:lnTo>
                      <a:lnTo>
                        <a:pt x="2373" y="3715"/>
                      </a:lnTo>
                      <a:lnTo>
                        <a:pt x="2370" y="3712"/>
                      </a:lnTo>
                      <a:lnTo>
                        <a:pt x="2370" y="3708"/>
                      </a:lnTo>
                      <a:lnTo>
                        <a:pt x="2375" y="3703"/>
                      </a:lnTo>
                      <a:lnTo>
                        <a:pt x="2377" y="3703"/>
                      </a:lnTo>
                      <a:lnTo>
                        <a:pt x="2382" y="3703"/>
                      </a:lnTo>
                      <a:lnTo>
                        <a:pt x="2394" y="3705"/>
                      </a:lnTo>
                      <a:lnTo>
                        <a:pt x="2401" y="3705"/>
                      </a:lnTo>
                      <a:lnTo>
                        <a:pt x="2410" y="3703"/>
                      </a:lnTo>
                      <a:lnTo>
                        <a:pt x="2418" y="3698"/>
                      </a:lnTo>
                      <a:lnTo>
                        <a:pt x="2418" y="3689"/>
                      </a:lnTo>
                      <a:lnTo>
                        <a:pt x="2425" y="3691"/>
                      </a:lnTo>
                      <a:lnTo>
                        <a:pt x="2427" y="3689"/>
                      </a:lnTo>
                      <a:lnTo>
                        <a:pt x="2432" y="3686"/>
                      </a:lnTo>
                      <a:lnTo>
                        <a:pt x="2436" y="3684"/>
                      </a:lnTo>
                      <a:lnTo>
                        <a:pt x="2441" y="3679"/>
                      </a:lnTo>
                      <a:lnTo>
                        <a:pt x="2444" y="3679"/>
                      </a:lnTo>
                      <a:lnTo>
                        <a:pt x="2446" y="3679"/>
                      </a:lnTo>
                      <a:lnTo>
                        <a:pt x="2446" y="3681"/>
                      </a:lnTo>
                      <a:lnTo>
                        <a:pt x="2448" y="3686"/>
                      </a:lnTo>
                      <a:lnTo>
                        <a:pt x="2448" y="3686"/>
                      </a:lnTo>
                      <a:lnTo>
                        <a:pt x="2463" y="3693"/>
                      </a:lnTo>
                      <a:lnTo>
                        <a:pt x="2465" y="3696"/>
                      </a:lnTo>
                      <a:lnTo>
                        <a:pt x="2467" y="3710"/>
                      </a:lnTo>
                      <a:lnTo>
                        <a:pt x="2467" y="3712"/>
                      </a:lnTo>
                      <a:lnTo>
                        <a:pt x="2474" y="3724"/>
                      </a:lnTo>
                      <a:lnTo>
                        <a:pt x="2515" y="3715"/>
                      </a:lnTo>
                      <a:lnTo>
                        <a:pt x="2524" y="3719"/>
                      </a:lnTo>
                      <a:lnTo>
                        <a:pt x="2524" y="3726"/>
                      </a:lnTo>
                      <a:lnTo>
                        <a:pt x="2526" y="3731"/>
                      </a:lnTo>
                      <a:lnTo>
                        <a:pt x="2529" y="3736"/>
                      </a:lnTo>
                      <a:lnTo>
                        <a:pt x="2533" y="3738"/>
                      </a:lnTo>
                      <a:lnTo>
                        <a:pt x="2543" y="3741"/>
                      </a:lnTo>
                      <a:lnTo>
                        <a:pt x="2555" y="3748"/>
                      </a:lnTo>
                      <a:lnTo>
                        <a:pt x="2567" y="3752"/>
                      </a:lnTo>
                      <a:lnTo>
                        <a:pt x="2581" y="3752"/>
                      </a:lnTo>
                      <a:lnTo>
                        <a:pt x="2586" y="3755"/>
                      </a:lnTo>
                      <a:lnTo>
                        <a:pt x="2586" y="3757"/>
                      </a:lnTo>
                      <a:lnTo>
                        <a:pt x="2586" y="3757"/>
                      </a:lnTo>
                      <a:lnTo>
                        <a:pt x="2586" y="3757"/>
                      </a:lnTo>
                      <a:lnTo>
                        <a:pt x="2593" y="3757"/>
                      </a:lnTo>
                      <a:lnTo>
                        <a:pt x="2614" y="3757"/>
                      </a:lnTo>
                      <a:lnTo>
                        <a:pt x="2621" y="3752"/>
                      </a:lnTo>
                      <a:lnTo>
                        <a:pt x="2633" y="3743"/>
                      </a:lnTo>
                      <a:lnTo>
                        <a:pt x="2647" y="3738"/>
                      </a:lnTo>
                      <a:lnTo>
                        <a:pt x="2652" y="3734"/>
                      </a:lnTo>
                      <a:lnTo>
                        <a:pt x="2654" y="3729"/>
                      </a:lnTo>
                      <a:lnTo>
                        <a:pt x="2659" y="3724"/>
                      </a:lnTo>
                      <a:lnTo>
                        <a:pt x="2680" y="3717"/>
                      </a:lnTo>
                      <a:lnTo>
                        <a:pt x="2683" y="3712"/>
                      </a:lnTo>
                      <a:lnTo>
                        <a:pt x="2699" y="3717"/>
                      </a:lnTo>
                      <a:lnTo>
                        <a:pt x="2706" y="3719"/>
                      </a:lnTo>
                      <a:lnTo>
                        <a:pt x="2713" y="3719"/>
                      </a:lnTo>
                      <a:lnTo>
                        <a:pt x="2718" y="3717"/>
                      </a:lnTo>
                      <a:lnTo>
                        <a:pt x="2727" y="3712"/>
                      </a:lnTo>
                      <a:lnTo>
                        <a:pt x="2768" y="3712"/>
                      </a:lnTo>
                      <a:lnTo>
                        <a:pt x="2787" y="3708"/>
                      </a:lnTo>
                      <a:lnTo>
                        <a:pt x="2803" y="3698"/>
                      </a:lnTo>
                      <a:lnTo>
                        <a:pt x="2817" y="3689"/>
                      </a:lnTo>
                      <a:lnTo>
                        <a:pt x="2829" y="3691"/>
                      </a:lnTo>
                      <a:lnTo>
                        <a:pt x="2843" y="3684"/>
                      </a:lnTo>
                      <a:lnTo>
                        <a:pt x="2881" y="3663"/>
                      </a:lnTo>
                      <a:lnTo>
                        <a:pt x="2891" y="3653"/>
                      </a:lnTo>
                      <a:lnTo>
                        <a:pt x="2900" y="3641"/>
                      </a:lnTo>
                      <a:lnTo>
                        <a:pt x="2910" y="3625"/>
                      </a:lnTo>
                      <a:lnTo>
                        <a:pt x="2912" y="3622"/>
                      </a:lnTo>
                      <a:lnTo>
                        <a:pt x="2924" y="3620"/>
                      </a:lnTo>
                      <a:lnTo>
                        <a:pt x="2929" y="3620"/>
                      </a:lnTo>
                      <a:lnTo>
                        <a:pt x="2952" y="3608"/>
                      </a:lnTo>
                      <a:lnTo>
                        <a:pt x="2957" y="3603"/>
                      </a:lnTo>
                      <a:lnTo>
                        <a:pt x="2959" y="3603"/>
                      </a:lnTo>
                      <a:lnTo>
                        <a:pt x="2964" y="3601"/>
                      </a:lnTo>
                      <a:lnTo>
                        <a:pt x="2974" y="3601"/>
                      </a:lnTo>
                      <a:lnTo>
                        <a:pt x="2976" y="3601"/>
                      </a:lnTo>
                      <a:lnTo>
                        <a:pt x="2983" y="3608"/>
                      </a:lnTo>
                      <a:lnTo>
                        <a:pt x="2985" y="3608"/>
                      </a:lnTo>
                      <a:lnTo>
                        <a:pt x="2990" y="3608"/>
                      </a:lnTo>
                      <a:lnTo>
                        <a:pt x="2997" y="3611"/>
                      </a:lnTo>
                      <a:lnTo>
                        <a:pt x="3009" y="3608"/>
                      </a:lnTo>
                      <a:lnTo>
                        <a:pt x="3011" y="3608"/>
                      </a:lnTo>
                      <a:lnTo>
                        <a:pt x="3014" y="3608"/>
                      </a:lnTo>
                      <a:lnTo>
                        <a:pt x="3016" y="3613"/>
                      </a:lnTo>
                      <a:lnTo>
                        <a:pt x="3018" y="3615"/>
                      </a:lnTo>
                      <a:lnTo>
                        <a:pt x="3026" y="3615"/>
                      </a:lnTo>
                      <a:lnTo>
                        <a:pt x="3030" y="3611"/>
                      </a:lnTo>
                      <a:lnTo>
                        <a:pt x="3035" y="3608"/>
                      </a:lnTo>
                      <a:lnTo>
                        <a:pt x="3054" y="3596"/>
                      </a:lnTo>
                      <a:lnTo>
                        <a:pt x="3059" y="3584"/>
                      </a:lnTo>
                      <a:lnTo>
                        <a:pt x="3068" y="3558"/>
                      </a:lnTo>
                      <a:lnTo>
                        <a:pt x="3066" y="3556"/>
                      </a:lnTo>
                      <a:lnTo>
                        <a:pt x="3066" y="3554"/>
                      </a:lnTo>
                      <a:lnTo>
                        <a:pt x="3066" y="3554"/>
                      </a:lnTo>
                      <a:lnTo>
                        <a:pt x="3066" y="3549"/>
                      </a:lnTo>
                      <a:lnTo>
                        <a:pt x="3066" y="3549"/>
                      </a:lnTo>
                      <a:lnTo>
                        <a:pt x="3066" y="3549"/>
                      </a:lnTo>
                      <a:lnTo>
                        <a:pt x="3068" y="3551"/>
                      </a:lnTo>
                      <a:lnTo>
                        <a:pt x="3068" y="3563"/>
                      </a:lnTo>
                      <a:lnTo>
                        <a:pt x="3071" y="3568"/>
                      </a:lnTo>
                      <a:lnTo>
                        <a:pt x="3075" y="3570"/>
                      </a:lnTo>
                      <a:lnTo>
                        <a:pt x="3080" y="3570"/>
                      </a:lnTo>
                      <a:lnTo>
                        <a:pt x="3087" y="3570"/>
                      </a:lnTo>
                      <a:lnTo>
                        <a:pt x="3097" y="3566"/>
                      </a:lnTo>
                      <a:lnTo>
                        <a:pt x="3120" y="3551"/>
                      </a:lnTo>
                      <a:lnTo>
                        <a:pt x="3125" y="3544"/>
                      </a:lnTo>
                      <a:lnTo>
                        <a:pt x="3130" y="3542"/>
                      </a:lnTo>
                      <a:lnTo>
                        <a:pt x="3142" y="3532"/>
                      </a:lnTo>
                      <a:lnTo>
                        <a:pt x="3151" y="3518"/>
                      </a:lnTo>
                      <a:lnTo>
                        <a:pt x="3156" y="3514"/>
                      </a:lnTo>
                      <a:lnTo>
                        <a:pt x="3168" y="3514"/>
                      </a:lnTo>
                      <a:lnTo>
                        <a:pt x="3186" y="3518"/>
                      </a:lnTo>
                      <a:lnTo>
                        <a:pt x="3198" y="3518"/>
                      </a:lnTo>
                      <a:lnTo>
                        <a:pt x="3198" y="3521"/>
                      </a:lnTo>
                      <a:lnTo>
                        <a:pt x="3196" y="3523"/>
                      </a:lnTo>
                      <a:moveTo>
                        <a:pt x="2981" y="3518"/>
                      </a:moveTo>
                      <a:lnTo>
                        <a:pt x="2981" y="3518"/>
                      </a:lnTo>
                      <a:lnTo>
                        <a:pt x="2976" y="3523"/>
                      </a:lnTo>
                      <a:lnTo>
                        <a:pt x="2969" y="3516"/>
                      </a:lnTo>
                      <a:lnTo>
                        <a:pt x="2962" y="3511"/>
                      </a:lnTo>
                      <a:lnTo>
                        <a:pt x="2959" y="3504"/>
                      </a:lnTo>
                      <a:lnTo>
                        <a:pt x="2964" y="3495"/>
                      </a:lnTo>
                      <a:lnTo>
                        <a:pt x="2966" y="3495"/>
                      </a:lnTo>
                      <a:lnTo>
                        <a:pt x="2966" y="3502"/>
                      </a:lnTo>
                      <a:lnTo>
                        <a:pt x="2971" y="3502"/>
                      </a:lnTo>
                      <a:lnTo>
                        <a:pt x="2976" y="3506"/>
                      </a:lnTo>
                      <a:lnTo>
                        <a:pt x="2981" y="3511"/>
                      </a:lnTo>
                      <a:lnTo>
                        <a:pt x="2983" y="3516"/>
                      </a:lnTo>
                      <a:lnTo>
                        <a:pt x="2981" y="3518"/>
                      </a:lnTo>
                      <a:moveTo>
                        <a:pt x="2964" y="3487"/>
                      </a:moveTo>
                      <a:lnTo>
                        <a:pt x="2964" y="3487"/>
                      </a:lnTo>
                      <a:lnTo>
                        <a:pt x="2959" y="3487"/>
                      </a:lnTo>
                      <a:lnTo>
                        <a:pt x="2955" y="3485"/>
                      </a:lnTo>
                      <a:lnTo>
                        <a:pt x="2948" y="3483"/>
                      </a:lnTo>
                      <a:lnTo>
                        <a:pt x="2943" y="3480"/>
                      </a:lnTo>
                      <a:lnTo>
                        <a:pt x="2940" y="3478"/>
                      </a:lnTo>
                      <a:lnTo>
                        <a:pt x="2940" y="3471"/>
                      </a:lnTo>
                      <a:lnTo>
                        <a:pt x="2940" y="3464"/>
                      </a:lnTo>
                      <a:lnTo>
                        <a:pt x="2945" y="3459"/>
                      </a:lnTo>
                      <a:lnTo>
                        <a:pt x="2957" y="3459"/>
                      </a:lnTo>
                      <a:lnTo>
                        <a:pt x="2959" y="3459"/>
                      </a:lnTo>
                      <a:lnTo>
                        <a:pt x="2959" y="3466"/>
                      </a:lnTo>
                      <a:lnTo>
                        <a:pt x="2962" y="3469"/>
                      </a:lnTo>
                      <a:lnTo>
                        <a:pt x="2964" y="3471"/>
                      </a:lnTo>
                      <a:lnTo>
                        <a:pt x="2966" y="3471"/>
                      </a:lnTo>
                      <a:lnTo>
                        <a:pt x="2966" y="3473"/>
                      </a:lnTo>
                      <a:lnTo>
                        <a:pt x="2957" y="3476"/>
                      </a:lnTo>
                      <a:lnTo>
                        <a:pt x="2959" y="3480"/>
                      </a:lnTo>
                      <a:lnTo>
                        <a:pt x="2962" y="3483"/>
                      </a:lnTo>
                      <a:lnTo>
                        <a:pt x="2964" y="3483"/>
                      </a:lnTo>
                      <a:lnTo>
                        <a:pt x="2964" y="3487"/>
                      </a:lnTo>
                      <a:moveTo>
                        <a:pt x="2763" y="3487"/>
                      </a:moveTo>
                      <a:lnTo>
                        <a:pt x="2763" y="3487"/>
                      </a:lnTo>
                      <a:lnTo>
                        <a:pt x="2758" y="3490"/>
                      </a:lnTo>
                      <a:lnTo>
                        <a:pt x="2756" y="3485"/>
                      </a:lnTo>
                      <a:lnTo>
                        <a:pt x="2761" y="3483"/>
                      </a:lnTo>
                      <a:lnTo>
                        <a:pt x="2763" y="3487"/>
                      </a:lnTo>
                      <a:moveTo>
                        <a:pt x="2924" y="3452"/>
                      </a:moveTo>
                      <a:lnTo>
                        <a:pt x="2924" y="3452"/>
                      </a:lnTo>
                      <a:lnTo>
                        <a:pt x="2924" y="3457"/>
                      </a:lnTo>
                      <a:lnTo>
                        <a:pt x="2912" y="3454"/>
                      </a:lnTo>
                      <a:lnTo>
                        <a:pt x="2900" y="3447"/>
                      </a:lnTo>
                      <a:lnTo>
                        <a:pt x="2907" y="3440"/>
                      </a:lnTo>
                      <a:lnTo>
                        <a:pt x="2919" y="3438"/>
                      </a:lnTo>
                      <a:lnTo>
                        <a:pt x="2924" y="3438"/>
                      </a:lnTo>
                      <a:lnTo>
                        <a:pt x="2926" y="3443"/>
                      </a:lnTo>
                      <a:lnTo>
                        <a:pt x="2926" y="3445"/>
                      </a:lnTo>
                      <a:lnTo>
                        <a:pt x="2926" y="3447"/>
                      </a:lnTo>
                      <a:lnTo>
                        <a:pt x="2924" y="3452"/>
                      </a:lnTo>
                      <a:moveTo>
                        <a:pt x="2834" y="3466"/>
                      </a:moveTo>
                      <a:lnTo>
                        <a:pt x="2834" y="3466"/>
                      </a:lnTo>
                      <a:lnTo>
                        <a:pt x="2829" y="3466"/>
                      </a:lnTo>
                      <a:lnTo>
                        <a:pt x="2822" y="3466"/>
                      </a:lnTo>
                      <a:lnTo>
                        <a:pt x="2820" y="3461"/>
                      </a:lnTo>
                      <a:lnTo>
                        <a:pt x="2817" y="3457"/>
                      </a:lnTo>
                      <a:lnTo>
                        <a:pt x="2820" y="3454"/>
                      </a:lnTo>
                      <a:lnTo>
                        <a:pt x="2824" y="3457"/>
                      </a:lnTo>
                      <a:lnTo>
                        <a:pt x="2829" y="3459"/>
                      </a:lnTo>
                      <a:lnTo>
                        <a:pt x="2832" y="3461"/>
                      </a:lnTo>
                      <a:lnTo>
                        <a:pt x="2834" y="3464"/>
                      </a:lnTo>
                      <a:lnTo>
                        <a:pt x="2834" y="3466"/>
                      </a:lnTo>
                      <a:moveTo>
                        <a:pt x="2368" y="3487"/>
                      </a:moveTo>
                      <a:lnTo>
                        <a:pt x="2368" y="3487"/>
                      </a:lnTo>
                      <a:lnTo>
                        <a:pt x="2366" y="3490"/>
                      </a:lnTo>
                      <a:lnTo>
                        <a:pt x="2361" y="3490"/>
                      </a:lnTo>
                      <a:lnTo>
                        <a:pt x="2361" y="3485"/>
                      </a:lnTo>
                      <a:lnTo>
                        <a:pt x="2361" y="3483"/>
                      </a:lnTo>
                      <a:lnTo>
                        <a:pt x="2366" y="3478"/>
                      </a:lnTo>
                      <a:lnTo>
                        <a:pt x="2370" y="3478"/>
                      </a:lnTo>
                      <a:lnTo>
                        <a:pt x="2373" y="3480"/>
                      </a:lnTo>
                      <a:lnTo>
                        <a:pt x="2375" y="3480"/>
                      </a:lnTo>
                      <a:lnTo>
                        <a:pt x="2368" y="3487"/>
                      </a:lnTo>
                      <a:moveTo>
                        <a:pt x="3026" y="3336"/>
                      </a:moveTo>
                      <a:lnTo>
                        <a:pt x="3026" y="3336"/>
                      </a:lnTo>
                      <a:lnTo>
                        <a:pt x="3023" y="3336"/>
                      </a:lnTo>
                      <a:lnTo>
                        <a:pt x="3018" y="3336"/>
                      </a:lnTo>
                      <a:lnTo>
                        <a:pt x="3011" y="3331"/>
                      </a:lnTo>
                      <a:lnTo>
                        <a:pt x="3011" y="3331"/>
                      </a:lnTo>
                      <a:lnTo>
                        <a:pt x="3014" y="3329"/>
                      </a:lnTo>
                      <a:lnTo>
                        <a:pt x="3016" y="3327"/>
                      </a:lnTo>
                      <a:lnTo>
                        <a:pt x="3018" y="3324"/>
                      </a:lnTo>
                      <a:lnTo>
                        <a:pt x="3018" y="3322"/>
                      </a:lnTo>
                      <a:lnTo>
                        <a:pt x="3021" y="3322"/>
                      </a:lnTo>
                      <a:lnTo>
                        <a:pt x="3023" y="3322"/>
                      </a:lnTo>
                      <a:lnTo>
                        <a:pt x="3026" y="3322"/>
                      </a:lnTo>
                      <a:lnTo>
                        <a:pt x="3028" y="3322"/>
                      </a:lnTo>
                      <a:lnTo>
                        <a:pt x="3028" y="3327"/>
                      </a:lnTo>
                      <a:lnTo>
                        <a:pt x="3026" y="3329"/>
                      </a:lnTo>
                      <a:lnTo>
                        <a:pt x="3026" y="3331"/>
                      </a:lnTo>
                      <a:lnTo>
                        <a:pt x="3026" y="3336"/>
                      </a:lnTo>
                      <a:moveTo>
                        <a:pt x="776" y="3521"/>
                      </a:moveTo>
                      <a:lnTo>
                        <a:pt x="776" y="3521"/>
                      </a:lnTo>
                      <a:lnTo>
                        <a:pt x="783" y="3525"/>
                      </a:lnTo>
                      <a:lnTo>
                        <a:pt x="795" y="3523"/>
                      </a:lnTo>
                      <a:lnTo>
                        <a:pt x="804" y="3525"/>
                      </a:lnTo>
                      <a:lnTo>
                        <a:pt x="809" y="3537"/>
                      </a:lnTo>
                      <a:lnTo>
                        <a:pt x="809" y="3540"/>
                      </a:lnTo>
                      <a:lnTo>
                        <a:pt x="811" y="3540"/>
                      </a:lnTo>
                      <a:lnTo>
                        <a:pt x="813" y="3540"/>
                      </a:lnTo>
                      <a:lnTo>
                        <a:pt x="816" y="3537"/>
                      </a:lnTo>
                      <a:lnTo>
                        <a:pt x="816" y="3537"/>
                      </a:lnTo>
                      <a:lnTo>
                        <a:pt x="816" y="3537"/>
                      </a:lnTo>
                      <a:lnTo>
                        <a:pt x="818" y="3537"/>
                      </a:lnTo>
                      <a:lnTo>
                        <a:pt x="811" y="3544"/>
                      </a:lnTo>
                      <a:lnTo>
                        <a:pt x="811" y="3547"/>
                      </a:lnTo>
                      <a:lnTo>
                        <a:pt x="811" y="3549"/>
                      </a:lnTo>
                      <a:lnTo>
                        <a:pt x="809" y="3556"/>
                      </a:lnTo>
                      <a:lnTo>
                        <a:pt x="809" y="3570"/>
                      </a:lnTo>
                      <a:lnTo>
                        <a:pt x="806" y="3582"/>
                      </a:lnTo>
                      <a:lnTo>
                        <a:pt x="804" y="3584"/>
                      </a:lnTo>
                      <a:lnTo>
                        <a:pt x="802" y="3584"/>
                      </a:lnTo>
                      <a:lnTo>
                        <a:pt x="797" y="3584"/>
                      </a:lnTo>
                      <a:lnTo>
                        <a:pt x="797" y="3584"/>
                      </a:lnTo>
                      <a:lnTo>
                        <a:pt x="795" y="3580"/>
                      </a:lnTo>
                      <a:lnTo>
                        <a:pt x="795" y="3577"/>
                      </a:lnTo>
                      <a:lnTo>
                        <a:pt x="780" y="3558"/>
                      </a:lnTo>
                      <a:lnTo>
                        <a:pt x="773" y="3544"/>
                      </a:lnTo>
                      <a:lnTo>
                        <a:pt x="773" y="3537"/>
                      </a:lnTo>
                      <a:lnTo>
                        <a:pt x="773" y="3532"/>
                      </a:lnTo>
                      <a:lnTo>
                        <a:pt x="771" y="3532"/>
                      </a:lnTo>
                      <a:lnTo>
                        <a:pt x="771" y="3530"/>
                      </a:lnTo>
                      <a:lnTo>
                        <a:pt x="776" y="3521"/>
                      </a:lnTo>
                      <a:moveTo>
                        <a:pt x="757" y="3528"/>
                      </a:moveTo>
                      <a:lnTo>
                        <a:pt x="757" y="3528"/>
                      </a:lnTo>
                      <a:lnTo>
                        <a:pt x="752" y="3532"/>
                      </a:lnTo>
                      <a:lnTo>
                        <a:pt x="745" y="3532"/>
                      </a:lnTo>
                      <a:lnTo>
                        <a:pt x="740" y="3530"/>
                      </a:lnTo>
                      <a:lnTo>
                        <a:pt x="740" y="3525"/>
                      </a:lnTo>
                      <a:lnTo>
                        <a:pt x="740" y="3523"/>
                      </a:lnTo>
                      <a:lnTo>
                        <a:pt x="733" y="3514"/>
                      </a:lnTo>
                      <a:lnTo>
                        <a:pt x="728" y="3509"/>
                      </a:lnTo>
                      <a:lnTo>
                        <a:pt x="731" y="3502"/>
                      </a:lnTo>
                      <a:lnTo>
                        <a:pt x="735" y="3499"/>
                      </a:lnTo>
                      <a:lnTo>
                        <a:pt x="750" y="3495"/>
                      </a:lnTo>
                      <a:lnTo>
                        <a:pt x="754" y="3492"/>
                      </a:lnTo>
                      <a:lnTo>
                        <a:pt x="757" y="3504"/>
                      </a:lnTo>
                      <a:lnTo>
                        <a:pt x="759" y="3523"/>
                      </a:lnTo>
                      <a:lnTo>
                        <a:pt x="757" y="3528"/>
                      </a:lnTo>
                      <a:moveTo>
                        <a:pt x="2489" y="2598"/>
                      </a:moveTo>
                      <a:lnTo>
                        <a:pt x="2489" y="2598"/>
                      </a:lnTo>
                      <a:lnTo>
                        <a:pt x="2486" y="2603"/>
                      </a:lnTo>
                      <a:lnTo>
                        <a:pt x="2481" y="2603"/>
                      </a:lnTo>
                      <a:lnTo>
                        <a:pt x="2477" y="2603"/>
                      </a:lnTo>
                      <a:lnTo>
                        <a:pt x="2472" y="2605"/>
                      </a:lnTo>
                      <a:lnTo>
                        <a:pt x="2470" y="2610"/>
                      </a:lnTo>
                      <a:lnTo>
                        <a:pt x="2467" y="2607"/>
                      </a:lnTo>
                      <a:lnTo>
                        <a:pt x="2458" y="2605"/>
                      </a:lnTo>
                      <a:lnTo>
                        <a:pt x="2455" y="2603"/>
                      </a:lnTo>
                      <a:lnTo>
                        <a:pt x="2455" y="2593"/>
                      </a:lnTo>
                      <a:lnTo>
                        <a:pt x="2458" y="2591"/>
                      </a:lnTo>
                      <a:lnTo>
                        <a:pt x="2460" y="2588"/>
                      </a:lnTo>
                      <a:lnTo>
                        <a:pt x="2458" y="2586"/>
                      </a:lnTo>
                      <a:lnTo>
                        <a:pt x="2455" y="2581"/>
                      </a:lnTo>
                      <a:lnTo>
                        <a:pt x="2463" y="2581"/>
                      </a:lnTo>
                      <a:lnTo>
                        <a:pt x="2484" y="2584"/>
                      </a:lnTo>
                      <a:lnTo>
                        <a:pt x="2491" y="2588"/>
                      </a:lnTo>
                      <a:lnTo>
                        <a:pt x="2489" y="2591"/>
                      </a:lnTo>
                      <a:lnTo>
                        <a:pt x="2491" y="2593"/>
                      </a:lnTo>
                      <a:lnTo>
                        <a:pt x="2491" y="2596"/>
                      </a:lnTo>
                      <a:lnTo>
                        <a:pt x="2489" y="2598"/>
                      </a:lnTo>
                      <a:moveTo>
                        <a:pt x="2316" y="2593"/>
                      </a:moveTo>
                      <a:lnTo>
                        <a:pt x="2316" y="2593"/>
                      </a:lnTo>
                      <a:lnTo>
                        <a:pt x="2313" y="2596"/>
                      </a:lnTo>
                      <a:lnTo>
                        <a:pt x="2313" y="2593"/>
                      </a:lnTo>
                      <a:lnTo>
                        <a:pt x="2316" y="2591"/>
                      </a:lnTo>
                      <a:lnTo>
                        <a:pt x="2318" y="2588"/>
                      </a:lnTo>
                      <a:lnTo>
                        <a:pt x="2316" y="2593"/>
                      </a:lnTo>
                      <a:moveTo>
                        <a:pt x="686" y="2681"/>
                      </a:moveTo>
                      <a:lnTo>
                        <a:pt x="686" y="2681"/>
                      </a:lnTo>
                      <a:lnTo>
                        <a:pt x="690" y="2683"/>
                      </a:lnTo>
                      <a:lnTo>
                        <a:pt x="690" y="2688"/>
                      </a:lnTo>
                      <a:lnTo>
                        <a:pt x="690" y="2693"/>
                      </a:lnTo>
                      <a:lnTo>
                        <a:pt x="688" y="2697"/>
                      </a:lnTo>
                      <a:lnTo>
                        <a:pt x="669" y="2702"/>
                      </a:lnTo>
                      <a:lnTo>
                        <a:pt x="662" y="2709"/>
                      </a:lnTo>
                      <a:lnTo>
                        <a:pt x="664" y="2721"/>
                      </a:lnTo>
                      <a:lnTo>
                        <a:pt x="664" y="2730"/>
                      </a:lnTo>
                      <a:lnTo>
                        <a:pt x="653" y="2730"/>
                      </a:lnTo>
                      <a:lnTo>
                        <a:pt x="655" y="2726"/>
                      </a:lnTo>
                      <a:lnTo>
                        <a:pt x="655" y="2723"/>
                      </a:lnTo>
                      <a:lnTo>
                        <a:pt x="655" y="2719"/>
                      </a:lnTo>
                      <a:lnTo>
                        <a:pt x="655" y="2714"/>
                      </a:lnTo>
                      <a:lnTo>
                        <a:pt x="655" y="2711"/>
                      </a:lnTo>
                      <a:lnTo>
                        <a:pt x="660" y="2707"/>
                      </a:lnTo>
                      <a:lnTo>
                        <a:pt x="664" y="2700"/>
                      </a:lnTo>
                      <a:lnTo>
                        <a:pt x="669" y="2697"/>
                      </a:lnTo>
                      <a:lnTo>
                        <a:pt x="669" y="2693"/>
                      </a:lnTo>
                      <a:lnTo>
                        <a:pt x="669" y="2685"/>
                      </a:lnTo>
                      <a:lnTo>
                        <a:pt x="669" y="2683"/>
                      </a:lnTo>
                      <a:lnTo>
                        <a:pt x="672" y="2681"/>
                      </a:lnTo>
                      <a:lnTo>
                        <a:pt x="676" y="2681"/>
                      </a:lnTo>
                      <a:lnTo>
                        <a:pt x="679" y="2681"/>
                      </a:lnTo>
                      <a:lnTo>
                        <a:pt x="679" y="2678"/>
                      </a:lnTo>
                      <a:lnTo>
                        <a:pt x="681" y="2676"/>
                      </a:lnTo>
                      <a:lnTo>
                        <a:pt x="683" y="2671"/>
                      </a:lnTo>
                      <a:lnTo>
                        <a:pt x="683" y="2676"/>
                      </a:lnTo>
                      <a:lnTo>
                        <a:pt x="686" y="2678"/>
                      </a:lnTo>
                      <a:lnTo>
                        <a:pt x="686" y="2681"/>
                      </a:lnTo>
                      <a:moveTo>
                        <a:pt x="1045" y="2605"/>
                      </a:moveTo>
                      <a:lnTo>
                        <a:pt x="1045" y="2605"/>
                      </a:lnTo>
                      <a:lnTo>
                        <a:pt x="1045" y="2607"/>
                      </a:lnTo>
                      <a:lnTo>
                        <a:pt x="1045" y="2610"/>
                      </a:lnTo>
                      <a:lnTo>
                        <a:pt x="1045" y="2612"/>
                      </a:lnTo>
                      <a:lnTo>
                        <a:pt x="1043" y="2612"/>
                      </a:lnTo>
                      <a:lnTo>
                        <a:pt x="1041" y="2610"/>
                      </a:lnTo>
                      <a:lnTo>
                        <a:pt x="1038" y="2607"/>
                      </a:lnTo>
                      <a:lnTo>
                        <a:pt x="1036" y="2607"/>
                      </a:lnTo>
                      <a:lnTo>
                        <a:pt x="1033" y="2607"/>
                      </a:lnTo>
                      <a:lnTo>
                        <a:pt x="1036" y="2598"/>
                      </a:lnTo>
                      <a:lnTo>
                        <a:pt x="1036" y="2596"/>
                      </a:lnTo>
                      <a:lnTo>
                        <a:pt x="1036" y="2593"/>
                      </a:lnTo>
                      <a:lnTo>
                        <a:pt x="1038" y="2586"/>
                      </a:lnTo>
                      <a:lnTo>
                        <a:pt x="1038" y="2581"/>
                      </a:lnTo>
                      <a:lnTo>
                        <a:pt x="1041" y="2584"/>
                      </a:lnTo>
                      <a:lnTo>
                        <a:pt x="1043" y="2584"/>
                      </a:lnTo>
                      <a:lnTo>
                        <a:pt x="1045" y="2588"/>
                      </a:lnTo>
                      <a:lnTo>
                        <a:pt x="1045" y="2588"/>
                      </a:lnTo>
                      <a:lnTo>
                        <a:pt x="1045" y="2593"/>
                      </a:lnTo>
                      <a:lnTo>
                        <a:pt x="1045" y="2605"/>
                      </a:lnTo>
                      <a:moveTo>
                        <a:pt x="967" y="2588"/>
                      </a:moveTo>
                      <a:lnTo>
                        <a:pt x="967" y="2588"/>
                      </a:lnTo>
                      <a:lnTo>
                        <a:pt x="972" y="2588"/>
                      </a:lnTo>
                      <a:lnTo>
                        <a:pt x="974" y="2586"/>
                      </a:lnTo>
                      <a:lnTo>
                        <a:pt x="979" y="2593"/>
                      </a:lnTo>
                      <a:lnTo>
                        <a:pt x="979" y="2607"/>
                      </a:lnTo>
                      <a:lnTo>
                        <a:pt x="984" y="2610"/>
                      </a:lnTo>
                      <a:lnTo>
                        <a:pt x="981" y="2607"/>
                      </a:lnTo>
                      <a:lnTo>
                        <a:pt x="981" y="2605"/>
                      </a:lnTo>
                      <a:lnTo>
                        <a:pt x="981" y="2603"/>
                      </a:lnTo>
                      <a:lnTo>
                        <a:pt x="981" y="2598"/>
                      </a:lnTo>
                      <a:lnTo>
                        <a:pt x="984" y="2598"/>
                      </a:lnTo>
                      <a:lnTo>
                        <a:pt x="986" y="2603"/>
                      </a:lnTo>
                      <a:lnTo>
                        <a:pt x="986" y="2605"/>
                      </a:lnTo>
                      <a:lnTo>
                        <a:pt x="986" y="2607"/>
                      </a:lnTo>
                      <a:lnTo>
                        <a:pt x="986" y="2610"/>
                      </a:lnTo>
                      <a:lnTo>
                        <a:pt x="991" y="2607"/>
                      </a:lnTo>
                      <a:lnTo>
                        <a:pt x="991" y="2607"/>
                      </a:lnTo>
                      <a:lnTo>
                        <a:pt x="993" y="2605"/>
                      </a:lnTo>
                      <a:lnTo>
                        <a:pt x="996" y="2607"/>
                      </a:lnTo>
                      <a:lnTo>
                        <a:pt x="1000" y="2610"/>
                      </a:lnTo>
                      <a:lnTo>
                        <a:pt x="1000" y="2600"/>
                      </a:lnTo>
                      <a:lnTo>
                        <a:pt x="1005" y="2600"/>
                      </a:lnTo>
                      <a:lnTo>
                        <a:pt x="1019" y="2612"/>
                      </a:lnTo>
                      <a:lnTo>
                        <a:pt x="1019" y="2607"/>
                      </a:lnTo>
                      <a:lnTo>
                        <a:pt x="1022" y="2610"/>
                      </a:lnTo>
                      <a:lnTo>
                        <a:pt x="1024" y="2610"/>
                      </a:lnTo>
                      <a:lnTo>
                        <a:pt x="1026" y="2610"/>
                      </a:lnTo>
                      <a:lnTo>
                        <a:pt x="1029" y="2610"/>
                      </a:lnTo>
                      <a:lnTo>
                        <a:pt x="1031" y="2612"/>
                      </a:lnTo>
                      <a:lnTo>
                        <a:pt x="1029" y="2614"/>
                      </a:lnTo>
                      <a:lnTo>
                        <a:pt x="1029" y="2614"/>
                      </a:lnTo>
                      <a:lnTo>
                        <a:pt x="1026" y="2617"/>
                      </a:lnTo>
                      <a:lnTo>
                        <a:pt x="1026" y="2619"/>
                      </a:lnTo>
                      <a:lnTo>
                        <a:pt x="1031" y="2622"/>
                      </a:lnTo>
                      <a:lnTo>
                        <a:pt x="1033" y="2624"/>
                      </a:lnTo>
                      <a:lnTo>
                        <a:pt x="1036" y="2626"/>
                      </a:lnTo>
                      <a:lnTo>
                        <a:pt x="1038" y="2629"/>
                      </a:lnTo>
                      <a:lnTo>
                        <a:pt x="1036" y="2633"/>
                      </a:lnTo>
                      <a:lnTo>
                        <a:pt x="1038" y="2638"/>
                      </a:lnTo>
                      <a:lnTo>
                        <a:pt x="1041" y="2648"/>
                      </a:lnTo>
                      <a:lnTo>
                        <a:pt x="1043" y="2638"/>
                      </a:lnTo>
                      <a:lnTo>
                        <a:pt x="1045" y="2633"/>
                      </a:lnTo>
                      <a:lnTo>
                        <a:pt x="1048" y="2631"/>
                      </a:lnTo>
                      <a:lnTo>
                        <a:pt x="1045" y="2629"/>
                      </a:lnTo>
                      <a:lnTo>
                        <a:pt x="1045" y="2629"/>
                      </a:lnTo>
                      <a:lnTo>
                        <a:pt x="1045" y="2626"/>
                      </a:lnTo>
                      <a:lnTo>
                        <a:pt x="1043" y="2626"/>
                      </a:lnTo>
                      <a:lnTo>
                        <a:pt x="1045" y="2624"/>
                      </a:lnTo>
                      <a:lnTo>
                        <a:pt x="1050" y="2622"/>
                      </a:lnTo>
                      <a:lnTo>
                        <a:pt x="1055" y="2624"/>
                      </a:lnTo>
                      <a:lnTo>
                        <a:pt x="1060" y="2624"/>
                      </a:lnTo>
                      <a:lnTo>
                        <a:pt x="1060" y="2622"/>
                      </a:lnTo>
                      <a:lnTo>
                        <a:pt x="1062" y="2619"/>
                      </a:lnTo>
                      <a:lnTo>
                        <a:pt x="1064" y="2619"/>
                      </a:lnTo>
                      <a:lnTo>
                        <a:pt x="1067" y="2624"/>
                      </a:lnTo>
                      <a:lnTo>
                        <a:pt x="1064" y="2626"/>
                      </a:lnTo>
                      <a:lnTo>
                        <a:pt x="1067" y="2629"/>
                      </a:lnTo>
                      <a:lnTo>
                        <a:pt x="1069" y="2631"/>
                      </a:lnTo>
                      <a:lnTo>
                        <a:pt x="1071" y="2631"/>
                      </a:lnTo>
                      <a:lnTo>
                        <a:pt x="1074" y="2629"/>
                      </a:lnTo>
                      <a:lnTo>
                        <a:pt x="1076" y="2629"/>
                      </a:lnTo>
                      <a:lnTo>
                        <a:pt x="1076" y="2629"/>
                      </a:lnTo>
                      <a:lnTo>
                        <a:pt x="1076" y="2631"/>
                      </a:lnTo>
                      <a:lnTo>
                        <a:pt x="1076" y="2631"/>
                      </a:lnTo>
                      <a:lnTo>
                        <a:pt x="1078" y="2631"/>
                      </a:lnTo>
                      <a:lnTo>
                        <a:pt x="1078" y="2636"/>
                      </a:lnTo>
                      <a:lnTo>
                        <a:pt x="1078" y="2640"/>
                      </a:lnTo>
                      <a:lnTo>
                        <a:pt x="1076" y="2645"/>
                      </a:lnTo>
                      <a:lnTo>
                        <a:pt x="1074" y="2650"/>
                      </a:lnTo>
                      <a:lnTo>
                        <a:pt x="1074" y="2648"/>
                      </a:lnTo>
                      <a:lnTo>
                        <a:pt x="1071" y="2645"/>
                      </a:lnTo>
                      <a:lnTo>
                        <a:pt x="1071" y="2643"/>
                      </a:lnTo>
                      <a:lnTo>
                        <a:pt x="1069" y="2669"/>
                      </a:lnTo>
                      <a:lnTo>
                        <a:pt x="1067" y="2676"/>
                      </a:lnTo>
                      <a:lnTo>
                        <a:pt x="1071" y="2676"/>
                      </a:lnTo>
                      <a:lnTo>
                        <a:pt x="1069" y="2669"/>
                      </a:lnTo>
                      <a:lnTo>
                        <a:pt x="1074" y="2667"/>
                      </a:lnTo>
                      <a:lnTo>
                        <a:pt x="1078" y="2667"/>
                      </a:lnTo>
                      <a:lnTo>
                        <a:pt x="1081" y="2671"/>
                      </a:lnTo>
                      <a:lnTo>
                        <a:pt x="1078" y="2678"/>
                      </a:lnTo>
                      <a:lnTo>
                        <a:pt x="1081" y="2678"/>
                      </a:lnTo>
                      <a:lnTo>
                        <a:pt x="1081" y="2676"/>
                      </a:lnTo>
                      <a:lnTo>
                        <a:pt x="1081" y="2676"/>
                      </a:lnTo>
                      <a:lnTo>
                        <a:pt x="1081" y="2674"/>
                      </a:lnTo>
                      <a:lnTo>
                        <a:pt x="1083" y="2676"/>
                      </a:lnTo>
                      <a:lnTo>
                        <a:pt x="1083" y="2676"/>
                      </a:lnTo>
                      <a:lnTo>
                        <a:pt x="1086" y="2676"/>
                      </a:lnTo>
                      <a:lnTo>
                        <a:pt x="1090" y="2671"/>
                      </a:lnTo>
                      <a:lnTo>
                        <a:pt x="1100" y="2671"/>
                      </a:lnTo>
                      <a:lnTo>
                        <a:pt x="1107" y="2674"/>
                      </a:lnTo>
                      <a:lnTo>
                        <a:pt x="1114" y="2676"/>
                      </a:lnTo>
                      <a:lnTo>
                        <a:pt x="1112" y="2681"/>
                      </a:lnTo>
                      <a:lnTo>
                        <a:pt x="1107" y="2681"/>
                      </a:lnTo>
                      <a:lnTo>
                        <a:pt x="1100" y="2681"/>
                      </a:lnTo>
                      <a:lnTo>
                        <a:pt x="1095" y="2678"/>
                      </a:lnTo>
                      <a:lnTo>
                        <a:pt x="1090" y="2683"/>
                      </a:lnTo>
                      <a:lnTo>
                        <a:pt x="1090" y="2690"/>
                      </a:lnTo>
                      <a:lnTo>
                        <a:pt x="1090" y="2697"/>
                      </a:lnTo>
                      <a:lnTo>
                        <a:pt x="1086" y="2702"/>
                      </a:lnTo>
                      <a:lnTo>
                        <a:pt x="1088" y="2709"/>
                      </a:lnTo>
                      <a:lnTo>
                        <a:pt x="1083" y="2711"/>
                      </a:lnTo>
                      <a:lnTo>
                        <a:pt x="1069" y="2711"/>
                      </a:lnTo>
                      <a:lnTo>
                        <a:pt x="1069" y="2714"/>
                      </a:lnTo>
                      <a:lnTo>
                        <a:pt x="1069" y="2714"/>
                      </a:lnTo>
                      <a:lnTo>
                        <a:pt x="1067" y="2714"/>
                      </a:lnTo>
                      <a:lnTo>
                        <a:pt x="1071" y="2719"/>
                      </a:lnTo>
                      <a:lnTo>
                        <a:pt x="1074" y="2719"/>
                      </a:lnTo>
                      <a:lnTo>
                        <a:pt x="1076" y="2716"/>
                      </a:lnTo>
                      <a:lnTo>
                        <a:pt x="1078" y="2716"/>
                      </a:lnTo>
                      <a:lnTo>
                        <a:pt x="1083" y="2716"/>
                      </a:lnTo>
                      <a:lnTo>
                        <a:pt x="1088" y="2721"/>
                      </a:lnTo>
                      <a:lnTo>
                        <a:pt x="1090" y="2721"/>
                      </a:lnTo>
                      <a:lnTo>
                        <a:pt x="1097" y="2719"/>
                      </a:lnTo>
                      <a:lnTo>
                        <a:pt x="1100" y="2714"/>
                      </a:lnTo>
                      <a:lnTo>
                        <a:pt x="1104" y="2711"/>
                      </a:lnTo>
                      <a:lnTo>
                        <a:pt x="1112" y="2711"/>
                      </a:lnTo>
                      <a:lnTo>
                        <a:pt x="1112" y="2716"/>
                      </a:lnTo>
                      <a:lnTo>
                        <a:pt x="1109" y="2719"/>
                      </a:lnTo>
                      <a:lnTo>
                        <a:pt x="1107" y="2721"/>
                      </a:lnTo>
                      <a:lnTo>
                        <a:pt x="1104" y="2721"/>
                      </a:lnTo>
                      <a:lnTo>
                        <a:pt x="1104" y="2726"/>
                      </a:lnTo>
                      <a:lnTo>
                        <a:pt x="1116" y="2728"/>
                      </a:lnTo>
                      <a:lnTo>
                        <a:pt x="1119" y="2730"/>
                      </a:lnTo>
                      <a:lnTo>
                        <a:pt x="1119" y="2735"/>
                      </a:lnTo>
                      <a:lnTo>
                        <a:pt x="1121" y="2737"/>
                      </a:lnTo>
                      <a:lnTo>
                        <a:pt x="1123" y="2737"/>
                      </a:lnTo>
                      <a:lnTo>
                        <a:pt x="1128" y="2733"/>
                      </a:lnTo>
                      <a:lnTo>
                        <a:pt x="1130" y="2737"/>
                      </a:lnTo>
                      <a:lnTo>
                        <a:pt x="1133" y="2740"/>
                      </a:lnTo>
                      <a:lnTo>
                        <a:pt x="1138" y="2740"/>
                      </a:lnTo>
                      <a:lnTo>
                        <a:pt x="1142" y="2740"/>
                      </a:lnTo>
                      <a:lnTo>
                        <a:pt x="1130" y="2745"/>
                      </a:lnTo>
                      <a:lnTo>
                        <a:pt x="1128" y="2749"/>
                      </a:lnTo>
                      <a:lnTo>
                        <a:pt x="1133" y="2754"/>
                      </a:lnTo>
                      <a:lnTo>
                        <a:pt x="1133" y="2756"/>
                      </a:lnTo>
                      <a:lnTo>
                        <a:pt x="1128" y="2756"/>
                      </a:lnTo>
                      <a:lnTo>
                        <a:pt x="1123" y="2759"/>
                      </a:lnTo>
                      <a:lnTo>
                        <a:pt x="1123" y="2764"/>
                      </a:lnTo>
                      <a:lnTo>
                        <a:pt x="1126" y="2766"/>
                      </a:lnTo>
                      <a:lnTo>
                        <a:pt x="1126" y="2761"/>
                      </a:lnTo>
                      <a:lnTo>
                        <a:pt x="1128" y="2766"/>
                      </a:lnTo>
                      <a:lnTo>
                        <a:pt x="1140" y="2778"/>
                      </a:lnTo>
                      <a:lnTo>
                        <a:pt x="1142" y="2782"/>
                      </a:lnTo>
                      <a:lnTo>
                        <a:pt x="1145" y="2792"/>
                      </a:lnTo>
                      <a:lnTo>
                        <a:pt x="1157" y="2808"/>
                      </a:lnTo>
                      <a:lnTo>
                        <a:pt x="1157" y="2816"/>
                      </a:lnTo>
                      <a:lnTo>
                        <a:pt x="1161" y="2842"/>
                      </a:lnTo>
                      <a:lnTo>
                        <a:pt x="1164" y="2846"/>
                      </a:lnTo>
                      <a:lnTo>
                        <a:pt x="1166" y="2849"/>
                      </a:lnTo>
                      <a:lnTo>
                        <a:pt x="1168" y="2849"/>
                      </a:lnTo>
                      <a:lnTo>
                        <a:pt x="1173" y="2849"/>
                      </a:lnTo>
                      <a:lnTo>
                        <a:pt x="1173" y="2853"/>
                      </a:lnTo>
                      <a:lnTo>
                        <a:pt x="1175" y="2856"/>
                      </a:lnTo>
                      <a:lnTo>
                        <a:pt x="1178" y="2861"/>
                      </a:lnTo>
                      <a:lnTo>
                        <a:pt x="1187" y="2868"/>
                      </a:lnTo>
                      <a:lnTo>
                        <a:pt x="1190" y="2870"/>
                      </a:lnTo>
                      <a:lnTo>
                        <a:pt x="1190" y="2875"/>
                      </a:lnTo>
                      <a:lnTo>
                        <a:pt x="1187" y="2882"/>
                      </a:lnTo>
                      <a:lnTo>
                        <a:pt x="1185" y="2887"/>
                      </a:lnTo>
                      <a:lnTo>
                        <a:pt x="1185" y="2896"/>
                      </a:lnTo>
                      <a:lnTo>
                        <a:pt x="1185" y="2903"/>
                      </a:lnTo>
                      <a:lnTo>
                        <a:pt x="1178" y="2915"/>
                      </a:lnTo>
                      <a:lnTo>
                        <a:pt x="1175" y="2931"/>
                      </a:lnTo>
                      <a:lnTo>
                        <a:pt x="1171" y="2939"/>
                      </a:lnTo>
                      <a:lnTo>
                        <a:pt x="1164" y="2941"/>
                      </a:lnTo>
                      <a:lnTo>
                        <a:pt x="1159" y="2943"/>
                      </a:lnTo>
                      <a:lnTo>
                        <a:pt x="1157" y="2950"/>
                      </a:lnTo>
                      <a:lnTo>
                        <a:pt x="1152" y="2962"/>
                      </a:lnTo>
                      <a:lnTo>
                        <a:pt x="1149" y="2967"/>
                      </a:lnTo>
                      <a:lnTo>
                        <a:pt x="1142" y="2976"/>
                      </a:lnTo>
                      <a:lnTo>
                        <a:pt x="1140" y="2981"/>
                      </a:lnTo>
                      <a:lnTo>
                        <a:pt x="1138" y="2991"/>
                      </a:lnTo>
                      <a:lnTo>
                        <a:pt x="1138" y="2998"/>
                      </a:lnTo>
                      <a:lnTo>
                        <a:pt x="1140" y="3014"/>
                      </a:lnTo>
                      <a:lnTo>
                        <a:pt x="1142" y="3019"/>
                      </a:lnTo>
                      <a:lnTo>
                        <a:pt x="1152" y="3040"/>
                      </a:lnTo>
                      <a:lnTo>
                        <a:pt x="1157" y="3045"/>
                      </a:lnTo>
                      <a:lnTo>
                        <a:pt x="1161" y="3047"/>
                      </a:lnTo>
                      <a:lnTo>
                        <a:pt x="1164" y="3050"/>
                      </a:lnTo>
                      <a:lnTo>
                        <a:pt x="1171" y="3059"/>
                      </a:lnTo>
                      <a:lnTo>
                        <a:pt x="1180" y="3062"/>
                      </a:lnTo>
                      <a:lnTo>
                        <a:pt x="1180" y="3069"/>
                      </a:lnTo>
                      <a:lnTo>
                        <a:pt x="1171" y="3102"/>
                      </a:lnTo>
                      <a:lnTo>
                        <a:pt x="1171" y="3116"/>
                      </a:lnTo>
                      <a:lnTo>
                        <a:pt x="1175" y="3128"/>
                      </a:lnTo>
                      <a:lnTo>
                        <a:pt x="1178" y="3125"/>
                      </a:lnTo>
                      <a:lnTo>
                        <a:pt x="1178" y="3123"/>
                      </a:lnTo>
                      <a:lnTo>
                        <a:pt x="1180" y="3123"/>
                      </a:lnTo>
                      <a:lnTo>
                        <a:pt x="1183" y="3125"/>
                      </a:lnTo>
                      <a:lnTo>
                        <a:pt x="1180" y="3130"/>
                      </a:lnTo>
                      <a:lnTo>
                        <a:pt x="1180" y="3133"/>
                      </a:lnTo>
                      <a:lnTo>
                        <a:pt x="1178" y="3133"/>
                      </a:lnTo>
                      <a:lnTo>
                        <a:pt x="1175" y="3133"/>
                      </a:lnTo>
                      <a:lnTo>
                        <a:pt x="1173" y="3140"/>
                      </a:lnTo>
                      <a:lnTo>
                        <a:pt x="1173" y="3144"/>
                      </a:lnTo>
                      <a:lnTo>
                        <a:pt x="1173" y="3149"/>
                      </a:lnTo>
                      <a:lnTo>
                        <a:pt x="1175" y="3154"/>
                      </a:lnTo>
                      <a:lnTo>
                        <a:pt x="1173" y="3154"/>
                      </a:lnTo>
                      <a:lnTo>
                        <a:pt x="1173" y="3156"/>
                      </a:lnTo>
                      <a:lnTo>
                        <a:pt x="1175" y="3156"/>
                      </a:lnTo>
                      <a:lnTo>
                        <a:pt x="1178" y="3159"/>
                      </a:lnTo>
                      <a:lnTo>
                        <a:pt x="1178" y="3159"/>
                      </a:lnTo>
                      <a:lnTo>
                        <a:pt x="1178" y="3161"/>
                      </a:lnTo>
                      <a:lnTo>
                        <a:pt x="1175" y="3168"/>
                      </a:lnTo>
                      <a:lnTo>
                        <a:pt x="1173" y="3178"/>
                      </a:lnTo>
                      <a:lnTo>
                        <a:pt x="1173" y="3187"/>
                      </a:lnTo>
                      <a:lnTo>
                        <a:pt x="1173" y="3199"/>
                      </a:lnTo>
                      <a:lnTo>
                        <a:pt x="1175" y="3204"/>
                      </a:lnTo>
                      <a:lnTo>
                        <a:pt x="1178" y="3213"/>
                      </a:lnTo>
                      <a:lnTo>
                        <a:pt x="1178" y="3220"/>
                      </a:lnTo>
                      <a:lnTo>
                        <a:pt x="1178" y="3222"/>
                      </a:lnTo>
                      <a:lnTo>
                        <a:pt x="1175" y="3232"/>
                      </a:lnTo>
                      <a:lnTo>
                        <a:pt x="1175" y="3237"/>
                      </a:lnTo>
                      <a:lnTo>
                        <a:pt x="1175" y="3239"/>
                      </a:lnTo>
                      <a:lnTo>
                        <a:pt x="1173" y="3244"/>
                      </a:lnTo>
                      <a:lnTo>
                        <a:pt x="1173" y="3249"/>
                      </a:lnTo>
                      <a:lnTo>
                        <a:pt x="1173" y="3253"/>
                      </a:lnTo>
                      <a:lnTo>
                        <a:pt x="1178" y="3272"/>
                      </a:lnTo>
                      <a:lnTo>
                        <a:pt x="1178" y="3284"/>
                      </a:lnTo>
                      <a:lnTo>
                        <a:pt x="1173" y="3312"/>
                      </a:lnTo>
                      <a:lnTo>
                        <a:pt x="1178" y="3319"/>
                      </a:lnTo>
                      <a:lnTo>
                        <a:pt x="1178" y="3334"/>
                      </a:lnTo>
                      <a:lnTo>
                        <a:pt x="1173" y="3357"/>
                      </a:lnTo>
                      <a:lnTo>
                        <a:pt x="1171" y="3376"/>
                      </a:lnTo>
                      <a:lnTo>
                        <a:pt x="1171" y="3381"/>
                      </a:lnTo>
                      <a:lnTo>
                        <a:pt x="1173" y="3388"/>
                      </a:lnTo>
                      <a:lnTo>
                        <a:pt x="1175" y="3390"/>
                      </a:lnTo>
                      <a:lnTo>
                        <a:pt x="1183" y="3395"/>
                      </a:lnTo>
                      <a:lnTo>
                        <a:pt x="1185" y="3400"/>
                      </a:lnTo>
                      <a:lnTo>
                        <a:pt x="1175" y="3402"/>
                      </a:lnTo>
                      <a:lnTo>
                        <a:pt x="1168" y="3414"/>
                      </a:lnTo>
                      <a:lnTo>
                        <a:pt x="1166" y="3426"/>
                      </a:lnTo>
                      <a:lnTo>
                        <a:pt x="1168" y="3435"/>
                      </a:lnTo>
                      <a:lnTo>
                        <a:pt x="1166" y="3440"/>
                      </a:lnTo>
                      <a:lnTo>
                        <a:pt x="1166" y="3443"/>
                      </a:lnTo>
                      <a:lnTo>
                        <a:pt x="1171" y="3445"/>
                      </a:lnTo>
                      <a:lnTo>
                        <a:pt x="1171" y="3447"/>
                      </a:lnTo>
                      <a:lnTo>
                        <a:pt x="1171" y="3450"/>
                      </a:lnTo>
                      <a:lnTo>
                        <a:pt x="1168" y="3459"/>
                      </a:lnTo>
                      <a:lnTo>
                        <a:pt x="1168" y="3464"/>
                      </a:lnTo>
                      <a:lnTo>
                        <a:pt x="1166" y="3469"/>
                      </a:lnTo>
                      <a:lnTo>
                        <a:pt x="1161" y="3471"/>
                      </a:lnTo>
                      <a:lnTo>
                        <a:pt x="1154" y="3476"/>
                      </a:lnTo>
                      <a:lnTo>
                        <a:pt x="1154" y="3485"/>
                      </a:lnTo>
                      <a:lnTo>
                        <a:pt x="1152" y="3483"/>
                      </a:lnTo>
                      <a:lnTo>
                        <a:pt x="1152" y="3483"/>
                      </a:lnTo>
                      <a:lnTo>
                        <a:pt x="1152" y="3480"/>
                      </a:lnTo>
                      <a:lnTo>
                        <a:pt x="1152" y="3476"/>
                      </a:lnTo>
                      <a:lnTo>
                        <a:pt x="1147" y="3473"/>
                      </a:lnTo>
                      <a:lnTo>
                        <a:pt x="1140" y="3473"/>
                      </a:lnTo>
                      <a:lnTo>
                        <a:pt x="1135" y="3476"/>
                      </a:lnTo>
                      <a:lnTo>
                        <a:pt x="1130" y="3478"/>
                      </a:lnTo>
                      <a:lnTo>
                        <a:pt x="1128" y="3480"/>
                      </a:lnTo>
                      <a:lnTo>
                        <a:pt x="1128" y="3476"/>
                      </a:lnTo>
                      <a:lnTo>
                        <a:pt x="1123" y="3473"/>
                      </a:lnTo>
                      <a:lnTo>
                        <a:pt x="1116" y="3471"/>
                      </a:lnTo>
                      <a:lnTo>
                        <a:pt x="1107" y="3461"/>
                      </a:lnTo>
                      <a:lnTo>
                        <a:pt x="1107" y="3461"/>
                      </a:lnTo>
                      <a:lnTo>
                        <a:pt x="1102" y="3459"/>
                      </a:lnTo>
                      <a:lnTo>
                        <a:pt x="1095" y="3452"/>
                      </a:lnTo>
                      <a:lnTo>
                        <a:pt x="1090" y="3452"/>
                      </a:lnTo>
                      <a:lnTo>
                        <a:pt x="1088" y="3450"/>
                      </a:lnTo>
                      <a:lnTo>
                        <a:pt x="1083" y="3450"/>
                      </a:lnTo>
                      <a:lnTo>
                        <a:pt x="1078" y="3447"/>
                      </a:lnTo>
                      <a:lnTo>
                        <a:pt x="1076" y="3445"/>
                      </a:lnTo>
                      <a:lnTo>
                        <a:pt x="1074" y="3447"/>
                      </a:lnTo>
                      <a:lnTo>
                        <a:pt x="1069" y="3445"/>
                      </a:lnTo>
                      <a:lnTo>
                        <a:pt x="1062" y="3445"/>
                      </a:lnTo>
                      <a:lnTo>
                        <a:pt x="1050" y="3445"/>
                      </a:lnTo>
                      <a:lnTo>
                        <a:pt x="1045" y="3447"/>
                      </a:lnTo>
                      <a:lnTo>
                        <a:pt x="1041" y="3454"/>
                      </a:lnTo>
                      <a:lnTo>
                        <a:pt x="1036" y="3461"/>
                      </a:lnTo>
                      <a:lnTo>
                        <a:pt x="1036" y="3464"/>
                      </a:lnTo>
                      <a:lnTo>
                        <a:pt x="1026" y="3461"/>
                      </a:lnTo>
                      <a:lnTo>
                        <a:pt x="1017" y="3454"/>
                      </a:lnTo>
                      <a:lnTo>
                        <a:pt x="1003" y="3440"/>
                      </a:lnTo>
                      <a:lnTo>
                        <a:pt x="1000" y="3443"/>
                      </a:lnTo>
                      <a:lnTo>
                        <a:pt x="998" y="3443"/>
                      </a:lnTo>
                      <a:lnTo>
                        <a:pt x="993" y="3438"/>
                      </a:lnTo>
                      <a:lnTo>
                        <a:pt x="991" y="3435"/>
                      </a:lnTo>
                      <a:lnTo>
                        <a:pt x="986" y="3435"/>
                      </a:lnTo>
                      <a:lnTo>
                        <a:pt x="984" y="3435"/>
                      </a:lnTo>
                      <a:lnTo>
                        <a:pt x="981" y="3438"/>
                      </a:lnTo>
                      <a:lnTo>
                        <a:pt x="986" y="3440"/>
                      </a:lnTo>
                      <a:lnTo>
                        <a:pt x="989" y="3443"/>
                      </a:lnTo>
                      <a:lnTo>
                        <a:pt x="986" y="3445"/>
                      </a:lnTo>
                      <a:lnTo>
                        <a:pt x="989" y="3447"/>
                      </a:lnTo>
                      <a:lnTo>
                        <a:pt x="991" y="3450"/>
                      </a:lnTo>
                      <a:lnTo>
                        <a:pt x="993" y="3452"/>
                      </a:lnTo>
                      <a:lnTo>
                        <a:pt x="993" y="3450"/>
                      </a:lnTo>
                      <a:lnTo>
                        <a:pt x="996" y="3452"/>
                      </a:lnTo>
                      <a:lnTo>
                        <a:pt x="1005" y="3450"/>
                      </a:lnTo>
                      <a:lnTo>
                        <a:pt x="1005" y="3450"/>
                      </a:lnTo>
                      <a:lnTo>
                        <a:pt x="1007" y="3454"/>
                      </a:lnTo>
                      <a:lnTo>
                        <a:pt x="1007" y="3457"/>
                      </a:lnTo>
                      <a:lnTo>
                        <a:pt x="996" y="3471"/>
                      </a:lnTo>
                      <a:lnTo>
                        <a:pt x="991" y="3478"/>
                      </a:lnTo>
                      <a:lnTo>
                        <a:pt x="989" y="3485"/>
                      </a:lnTo>
                      <a:lnTo>
                        <a:pt x="989" y="3495"/>
                      </a:lnTo>
                      <a:lnTo>
                        <a:pt x="991" y="3504"/>
                      </a:lnTo>
                      <a:lnTo>
                        <a:pt x="993" y="3511"/>
                      </a:lnTo>
                      <a:lnTo>
                        <a:pt x="998" y="3518"/>
                      </a:lnTo>
                      <a:lnTo>
                        <a:pt x="998" y="3521"/>
                      </a:lnTo>
                      <a:lnTo>
                        <a:pt x="1000" y="3523"/>
                      </a:lnTo>
                      <a:lnTo>
                        <a:pt x="1003" y="3525"/>
                      </a:lnTo>
                      <a:lnTo>
                        <a:pt x="998" y="3535"/>
                      </a:lnTo>
                      <a:lnTo>
                        <a:pt x="996" y="3549"/>
                      </a:lnTo>
                      <a:lnTo>
                        <a:pt x="998" y="3549"/>
                      </a:lnTo>
                      <a:lnTo>
                        <a:pt x="996" y="3551"/>
                      </a:lnTo>
                      <a:lnTo>
                        <a:pt x="993" y="3551"/>
                      </a:lnTo>
                      <a:lnTo>
                        <a:pt x="991" y="3551"/>
                      </a:lnTo>
                      <a:lnTo>
                        <a:pt x="989" y="3556"/>
                      </a:lnTo>
                      <a:lnTo>
                        <a:pt x="960" y="3594"/>
                      </a:lnTo>
                      <a:lnTo>
                        <a:pt x="958" y="3594"/>
                      </a:lnTo>
                      <a:lnTo>
                        <a:pt x="953" y="3596"/>
                      </a:lnTo>
                      <a:lnTo>
                        <a:pt x="953" y="3596"/>
                      </a:lnTo>
                      <a:lnTo>
                        <a:pt x="948" y="3603"/>
                      </a:lnTo>
                      <a:lnTo>
                        <a:pt x="946" y="3606"/>
                      </a:lnTo>
                      <a:lnTo>
                        <a:pt x="941" y="3606"/>
                      </a:lnTo>
                      <a:lnTo>
                        <a:pt x="936" y="3601"/>
                      </a:lnTo>
                      <a:lnTo>
                        <a:pt x="929" y="3596"/>
                      </a:lnTo>
                      <a:lnTo>
                        <a:pt x="929" y="3603"/>
                      </a:lnTo>
                      <a:lnTo>
                        <a:pt x="925" y="3596"/>
                      </a:lnTo>
                      <a:lnTo>
                        <a:pt x="915" y="3592"/>
                      </a:lnTo>
                      <a:lnTo>
                        <a:pt x="906" y="3587"/>
                      </a:lnTo>
                      <a:lnTo>
                        <a:pt x="899" y="3587"/>
                      </a:lnTo>
                      <a:lnTo>
                        <a:pt x="892" y="3592"/>
                      </a:lnTo>
                      <a:lnTo>
                        <a:pt x="884" y="3599"/>
                      </a:lnTo>
                      <a:lnTo>
                        <a:pt x="880" y="3606"/>
                      </a:lnTo>
                      <a:lnTo>
                        <a:pt x="882" y="3615"/>
                      </a:lnTo>
                      <a:lnTo>
                        <a:pt x="877" y="3618"/>
                      </a:lnTo>
                      <a:lnTo>
                        <a:pt x="875" y="3615"/>
                      </a:lnTo>
                      <a:lnTo>
                        <a:pt x="877" y="3608"/>
                      </a:lnTo>
                      <a:lnTo>
                        <a:pt x="873" y="3606"/>
                      </a:lnTo>
                      <a:lnTo>
                        <a:pt x="868" y="3606"/>
                      </a:lnTo>
                      <a:lnTo>
                        <a:pt x="863" y="3606"/>
                      </a:lnTo>
                      <a:lnTo>
                        <a:pt x="863" y="3603"/>
                      </a:lnTo>
                      <a:lnTo>
                        <a:pt x="866" y="3594"/>
                      </a:lnTo>
                      <a:lnTo>
                        <a:pt x="866" y="3584"/>
                      </a:lnTo>
                      <a:lnTo>
                        <a:pt x="861" y="3577"/>
                      </a:lnTo>
                      <a:lnTo>
                        <a:pt x="854" y="3580"/>
                      </a:lnTo>
                      <a:lnTo>
                        <a:pt x="849" y="3558"/>
                      </a:lnTo>
                      <a:lnTo>
                        <a:pt x="842" y="3540"/>
                      </a:lnTo>
                      <a:lnTo>
                        <a:pt x="839" y="3540"/>
                      </a:lnTo>
                      <a:lnTo>
                        <a:pt x="837" y="3542"/>
                      </a:lnTo>
                      <a:lnTo>
                        <a:pt x="830" y="3540"/>
                      </a:lnTo>
                      <a:lnTo>
                        <a:pt x="825" y="3540"/>
                      </a:lnTo>
                      <a:lnTo>
                        <a:pt x="825" y="3537"/>
                      </a:lnTo>
                      <a:lnTo>
                        <a:pt x="828" y="3530"/>
                      </a:lnTo>
                      <a:lnTo>
                        <a:pt x="823" y="3528"/>
                      </a:lnTo>
                      <a:lnTo>
                        <a:pt x="816" y="3532"/>
                      </a:lnTo>
                      <a:lnTo>
                        <a:pt x="816" y="3532"/>
                      </a:lnTo>
                      <a:lnTo>
                        <a:pt x="813" y="3528"/>
                      </a:lnTo>
                      <a:lnTo>
                        <a:pt x="813" y="3523"/>
                      </a:lnTo>
                      <a:lnTo>
                        <a:pt x="809" y="3516"/>
                      </a:lnTo>
                      <a:lnTo>
                        <a:pt x="806" y="3516"/>
                      </a:lnTo>
                      <a:lnTo>
                        <a:pt x="802" y="3518"/>
                      </a:lnTo>
                      <a:lnTo>
                        <a:pt x="799" y="3514"/>
                      </a:lnTo>
                      <a:lnTo>
                        <a:pt x="799" y="3504"/>
                      </a:lnTo>
                      <a:lnTo>
                        <a:pt x="797" y="3499"/>
                      </a:lnTo>
                      <a:lnTo>
                        <a:pt x="795" y="3495"/>
                      </a:lnTo>
                      <a:lnTo>
                        <a:pt x="792" y="3495"/>
                      </a:lnTo>
                      <a:lnTo>
                        <a:pt x="790" y="3495"/>
                      </a:lnTo>
                      <a:lnTo>
                        <a:pt x="792" y="3499"/>
                      </a:lnTo>
                      <a:lnTo>
                        <a:pt x="790" y="3497"/>
                      </a:lnTo>
                      <a:lnTo>
                        <a:pt x="787" y="3497"/>
                      </a:lnTo>
                      <a:lnTo>
                        <a:pt x="785" y="3492"/>
                      </a:lnTo>
                      <a:lnTo>
                        <a:pt x="785" y="3490"/>
                      </a:lnTo>
                      <a:lnTo>
                        <a:pt x="785" y="3485"/>
                      </a:lnTo>
                      <a:lnTo>
                        <a:pt x="783" y="3483"/>
                      </a:lnTo>
                      <a:lnTo>
                        <a:pt x="780" y="3483"/>
                      </a:lnTo>
                      <a:lnTo>
                        <a:pt x="778" y="3483"/>
                      </a:lnTo>
                      <a:lnTo>
                        <a:pt x="776" y="3476"/>
                      </a:lnTo>
                      <a:lnTo>
                        <a:pt x="773" y="3473"/>
                      </a:lnTo>
                      <a:lnTo>
                        <a:pt x="776" y="3471"/>
                      </a:lnTo>
                      <a:lnTo>
                        <a:pt x="790" y="3450"/>
                      </a:lnTo>
                      <a:lnTo>
                        <a:pt x="792" y="3440"/>
                      </a:lnTo>
                      <a:lnTo>
                        <a:pt x="785" y="3433"/>
                      </a:lnTo>
                      <a:lnTo>
                        <a:pt x="785" y="3426"/>
                      </a:lnTo>
                      <a:lnTo>
                        <a:pt x="773" y="3419"/>
                      </a:lnTo>
                      <a:lnTo>
                        <a:pt x="769" y="3409"/>
                      </a:lnTo>
                      <a:lnTo>
                        <a:pt x="771" y="3407"/>
                      </a:lnTo>
                      <a:lnTo>
                        <a:pt x="776" y="3400"/>
                      </a:lnTo>
                      <a:lnTo>
                        <a:pt x="776" y="3395"/>
                      </a:lnTo>
                      <a:lnTo>
                        <a:pt x="778" y="3388"/>
                      </a:lnTo>
                      <a:lnTo>
                        <a:pt x="776" y="3386"/>
                      </a:lnTo>
                      <a:lnTo>
                        <a:pt x="771" y="3374"/>
                      </a:lnTo>
                      <a:lnTo>
                        <a:pt x="769" y="3374"/>
                      </a:lnTo>
                      <a:lnTo>
                        <a:pt x="769" y="3372"/>
                      </a:lnTo>
                      <a:lnTo>
                        <a:pt x="771" y="3367"/>
                      </a:lnTo>
                      <a:lnTo>
                        <a:pt x="780" y="3355"/>
                      </a:lnTo>
                      <a:lnTo>
                        <a:pt x="783" y="3346"/>
                      </a:lnTo>
                      <a:lnTo>
                        <a:pt x="787" y="3331"/>
                      </a:lnTo>
                      <a:lnTo>
                        <a:pt x="790" y="3324"/>
                      </a:lnTo>
                      <a:lnTo>
                        <a:pt x="787" y="3319"/>
                      </a:lnTo>
                      <a:lnTo>
                        <a:pt x="790" y="3315"/>
                      </a:lnTo>
                      <a:lnTo>
                        <a:pt x="787" y="3308"/>
                      </a:lnTo>
                      <a:lnTo>
                        <a:pt x="783" y="3289"/>
                      </a:lnTo>
                      <a:lnTo>
                        <a:pt x="780" y="3270"/>
                      </a:lnTo>
                      <a:lnTo>
                        <a:pt x="778" y="3265"/>
                      </a:lnTo>
                      <a:lnTo>
                        <a:pt x="778" y="3263"/>
                      </a:lnTo>
                      <a:lnTo>
                        <a:pt x="778" y="3258"/>
                      </a:lnTo>
                      <a:lnTo>
                        <a:pt x="778" y="3249"/>
                      </a:lnTo>
                      <a:lnTo>
                        <a:pt x="778" y="3246"/>
                      </a:lnTo>
                      <a:lnTo>
                        <a:pt x="783" y="3246"/>
                      </a:lnTo>
                      <a:lnTo>
                        <a:pt x="785" y="3249"/>
                      </a:lnTo>
                      <a:lnTo>
                        <a:pt x="797" y="3263"/>
                      </a:lnTo>
                      <a:lnTo>
                        <a:pt x="804" y="3270"/>
                      </a:lnTo>
                      <a:lnTo>
                        <a:pt x="811" y="3270"/>
                      </a:lnTo>
                      <a:lnTo>
                        <a:pt x="818" y="3267"/>
                      </a:lnTo>
                      <a:lnTo>
                        <a:pt x="802" y="3263"/>
                      </a:lnTo>
                      <a:lnTo>
                        <a:pt x="797" y="3260"/>
                      </a:lnTo>
                      <a:lnTo>
                        <a:pt x="797" y="3253"/>
                      </a:lnTo>
                      <a:lnTo>
                        <a:pt x="802" y="3246"/>
                      </a:lnTo>
                      <a:lnTo>
                        <a:pt x="806" y="3239"/>
                      </a:lnTo>
                      <a:lnTo>
                        <a:pt x="809" y="3234"/>
                      </a:lnTo>
                      <a:lnTo>
                        <a:pt x="806" y="3234"/>
                      </a:lnTo>
                      <a:lnTo>
                        <a:pt x="806" y="3237"/>
                      </a:lnTo>
                      <a:lnTo>
                        <a:pt x="804" y="3239"/>
                      </a:lnTo>
                      <a:lnTo>
                        <a:pt x="802" y="3241"/>
                      </a:lnTo>
                      <a:lnTo>
                        <a:pt x="802" y="3244"/>
                      </a:lnTo>
                      <a:lnTo>
                        <a:pt x="804" y="3239"/>
                      </a:lnTo>
                      <a:lnTo>
                        <a:pt x="806" y="3232"/>
                      </a:lnTo>
                      <a:lnTo>
                        <a:pt x="809" y="3222"/>
                      </a:lnTo>
                      <a:lnTo>
                        <a:pt x="809" y="3218"/>
                      </a:lnTo>
                      <a:lnTo>
                        <a:pt x="809" y="3204"/>
                      </a:lnTo>
                      <a:lnTo>
                        <a:pt x="809" y="3199"/>
                      </a:lnTo>
                      <a:lnTo>
                        <a:pt x="804" y="3194"/>
                      </a:lnTo>
                      <a:lnTo>
                        <a:pt x="797" y="3185"/>
                      </a:lnTo>
                      <a:lnTo>
                        <a:pt x="787" y="3180"/>
                      </a:lnTo>
                      <a:lnTo>
                        <a:pt x="776" y="3180"/>
                      </a:lnTo>
                      <a:lnTo>
                        <a:pt x="769" y="3187"/>
                      </a:lnTo>
                      <a:lnTo>
                        <a:pt x="771" y="3189"/>
                      </a:lnTo>
                      <a:lnTo>
                        <a:pt x="771" y="3187"/>
                      </a:lnTo>
                      <a:lnTo>
                        <a:pt x="773" y="3187"/>
                      </a:lnTo>
                      <a:lnTo>
                        <a:pt x="776" y="3187"/>
                      </a:lnTo>
                      <a:lnTo>
                        <a:pt x="778" y="3187"/>
                      </a:lnTo>
                      <a:lnTo>
                        <a:pt x="773" y="3189"/>
                      </a:lnTo>
                      <a:lnTo>
                        <a:pt x="771" y="3194"/>
                      </a:lnTo>
                      <a:lnTo>
                        <a:pt x="771" y="3206"/>
                      </a:lnTo>
                      <a:lnTo>
                        <a:pt x="769" y="3204"/>
                      </a:lnTo>
                      <a:lnTo>
                        <a:pt x="771" y="3196"/>
                      </a:lnTo>
                      <a:lnTo>
                        <a:pt x="769" y="3194"/>
                      </a:lnTo>
                      <a:lnTo>
                        <a:pt x="764" y="3192"/>
                      </a:lnTo>
                      <a:lnTo>
                        <a:pt x="759" y="3187"/>
                      </a:lnTo>
                      <a:lnTo>
                        <a:pt x="757" y="3187"/>
                      </a:lnTo>
                      <a:lnTo>
                        <a:pt x="757" y="3187"/>
                      </a:lnTo>
                      <a:lnTo>
                        <a:pt x="754" y="3185"/>
                      </a:lnTo>
                      <a:lnTo>
                        <a:pt x="754" y="3180"/>
                      </a:lnTo>
                      <a:lnTo>
                        <a:pt x="754" y="3178"/>
                      </a:lnTo>
                      <a:lnTo>
                        <a:pt x="757" y="3175"/>
                      </a:lnTo>
                      <a:lnTo>
                        <a:pt x="757" y="3173"/>
                      </a:lnTo>
                      <a:lnTo>
                        <a:pt x="752" y="3156"/>
                      </a:lnTo>
                      <a:lnTo>
                        <a:pt x="752" y="3152"/>
                      </a:lnTo>
                      <a:lnTo>
                        <a:pt x="754" y="3142"/>
                      </a:lnTo>
                      <a:lnTo>
                        <a:pt x="754" y="3137"/>
                      </a:lnTo>
                      <a:lnTo>
                        <a:pt x="750" y="3130"/>
                      </a:lnTo>
                      <a:lnTo>
                        <a:pt x="745" y="3135"/>
                      </a:lnTo>
                      <a:lnTo>
                        <a:pt x="745" y="3133"/>
                      </a:lnTo>
                      <a:lnTo>
                        <a:pt x="747" y="3130"/>
                      </a:lnTo>
                      <a:lnTo>
                        <a:pt x="752" y="3125"/>
                      </a:lnTo>
                      <a:lnTo>
                        <a:pt x="752" y="3125"/>
                      </a:lnTo>
                      <a:lnTo>
                        <a:pt x="761" y="3123"/>
                      </a:lnTo>
                      <a:lnTo>
                        <a:pt x="769" y="3121"/>
                      </a:lnTo>
                      <a:lnTo>
                        <a:pt x="771" y="3121"/>
                      </a:lnTo>
                      <a:lnTo>
                        <a:pt x="773" y="3118"/>
                      </a:lnTo>
                      <a:lnTo>
                        <a:pt x="776" y="3111"/>
                      </a:lnTo>
                      <a:lnTo>
                        <a:pt x="778" y="3107"/>
                      </a:lnTo>
                      <a:lnTo>
                        <a:pt x="778" y="3099"/>
                      </a:lnTo>
                      <a:lnTo>
                        <a:pt x="776" y="3095"/>
                      </a:lnTo>
                      <a:lnTo>
                        <a:pt x="769" y="3083"/>
                      </a:lnTo>
                      <a:lnTo>
                        <a:pt x="766" y="3076"/>
                      </a:lnTo>
                      <a:lnTo>
                        <a:pt x="764" y="3052"/>
                      </a:lnTo>
                      <a:lnTo>
                        <a:pt x="766" y="3033"/>
                      </a:lnTo>
                      <a:lnTo>
                        <a:pt x="766" y="3019"/>
                      </a:lnTo>
                      <a:lnTo>
                        <a:pt x="761" y="3012"/>
                      </a:lnTo>
                      <a:lnTo>
                        <a:pt x="752" y="3005"/>
                      </a:lnTo>
                      <a:lnTo>
                        <a:pt x="745" y="3000"/>
                      </a:lnTo>
                      <a:lnTo>
                        <a:pt x="742" y="3002"/>
                      </a:lnTo>
                      <a:lnTo>
                        <a:pt x="733" y="2998"/>
                      </a:lnTo>
                      <a:lnTo>
                        <a:pt x="733" y="2991"/>
                      </a:lnTo>
                      <a:lnTo>
                        <a:pt x="733" y="2967"/>
                      </a:lnTo>
                      <a:lnTo>
                        <a:pt x="733" y="2960"/>
                      </a:lnTo>
                      <a:lnTo>
                        <a:pt x="728" y="2948"/>
                      </a:lnTo>
                      <a:lnTo>
                        <a:pt x="721" y="2939"/>
                      </a:lnTo>
                      <a:lnTo>
                        <a:pt x="716" y="2936"/>
                      </a:lnTo>
                      <a:lnTo>
                        <a:pt x="709" y="2931"/>
                      </a:lnTo>
                      <a:lnTo>
                        <a:pt x="707" y="2924"/>
                      </a:lnTo>
                      <a:lnTo>
                        <a:pt x="705" y="2915"/>
                      </a:lnTo>
                      <a:lnTo>
                        <a:pt x="702" y="2905"/>
                      </a:lnTo>
                      <a:lnTo>
                        <a:pt x="695" y="2898"/>
                      </a:lnTo>
                      <a:lnTo>
                        <a:pt x="686" y="2898"/>
                      </a:lnTo>
                      <a:lnTo>
                        <a:pt x="672" y="2910"/>
                      </a:lnTo>
                      <a:lnTo>
                        <a:pt x="664" y="2908"/>
                      </a:lnTo>
                      <a:lnTo>
                        <a:pt x="667" y="2901"/>
                      </a:lnTo>
                      <a:lnTo>
                        <a:pt x="669" y="2894"/>
                      </a:lnTo>
                      <a:lnTo>
                        <a:pt x="662" y="2891"/>
                      </a:lnTo>
                      <a:lnTo>
                        <a:pt x="657" y="2896"/>
                      </a:lnTo>
                      <a:lnTo>
                        <a:pt x="655" y="2905"/>
                      </a:lnTo>
                      <a:lnTo>
                        <a:pt x="653" y="2915"/>
                      </a:lnTo>
                      <a:lnTo>
                        <a:pt x="650" y="2910"/>
                      </a:lnTo>
                      <a:lnTo>
                        <a:pt x="648" y="2903"/>
                      </a:lnTo>
                      <a:lnTo>
                        <a:pt x="645" y="2894"/>
                      </a:lnTo>
                      <a:lnTo>
                        <a:pt x="645" y="2891"/>
                      </a:lnTo>
                      <a:lnTo>
                        <a:pt x="650" y="2887"/>
                      </a:lnTo>
                      <a:lnTo>
                        <a:pt x="655" y="2882"/>
                      </a:lnTo>
                      <a:lnTo>
                        <a:pt x="657" y="2875"/>
                      </a:lnTo>
                      <a:lnTo>
                        <a:pt x="657" y="2865"/>
                      </a:lnTo>
                      <a:lnTo>
                        <a:pt x="657" y="2865"/>
                      </a:lnTo>
                      <a:lnTo>
                        <a:pt x="660" y="2863"/>
                      </a:lnTo>
                      <a:lnTo>
                        <a:pt x="660" y="2861"/>
                      </a:lnTo>
                      <a:lnTo>
                        <a:pt x="657" y="2858"/>
                      </a:lnTo>
                      <a:lnTo>
                        <a:pt x="655" y="2861"/>
                      </a:lnTo>
                      <a:lnTo>
                        <a:pt x="653" y="2858"/>
                      </a:lnTo>
                      <a:lnTo>
                        <a:pt x="650" y="2856"/>
                      </a:lnTo>
                      <a:lnTo>
                        <a:pt x="645" y="2849"/>
                      </a:lnTo>
                      <a:lnTo>
                        <a:pt x="643" y="2846"/>
                      </a:lnTo>
                      <a:lnTo>
                        <a:pt x="638" y="2846"/>
                      </a:lnTo>
                      <a:lnTo>
                        <a:pt x="657" y="2787"/>
                      </a:lnTo>
                      <a:lnTo>
                        <a:pt x="657" y="2780"/>
                      </a:lnTo>
                      <a:lnTo>
                        <a:pt x="657" y="2771"/>
                      </a:lnTo>
                      <a:lnTo>
                        <a:pt x="655" y="2766"/>
                      </a:lnTo>
                      <a:lnTo>
                        <a:pt x="650" y="2764"/>
                      </a:lnTo>
                      <a:lnTo>
                        <a:pt x="645" y="2761"/>
                      </a:lnTo>
                      <a:lnTo>
                        <a:pt x="645" y="2754"/>
                      </a:lnTo>
                      <a:lnTo>
                        <a:pt x="648" y="2745"/>
                      </a:lnTo>
                      <a:lnTo>
                        <a:pt x="650" y="2740"/>
                      </a:lnTo>
                      <a:lnTo>
                        <a:pt x="653" y="2740"/>
                      </a:lnTo>
                      <a:lnTo>
                        <a:pt x="655" y="2745"/>
                      </a:lnTo>
                      <a:lnTo>
                        <a:pt x="657" y="2745"/>
                      </a:lnTo>
                      <a:lnTo>
                        <a:pt x="660" y="2745"/>
                      </a:lnTo>
                      <a:lnTo>
                        <a:pt x="662" y="2747"/>
                      </a:lnTo>
                      <a:lnTo>
                        <a:pt x="662" y="2752"/>
                      </a:lnTo>
                      <a:lnTo>
                        <a:pt x="662" y="2756"/>
                      </a:lnTo>
                      <a:lnTo>
                        <a:pt x="662" y="2761"/>
                      </a:lnTo>
                      <a:lnTo>
                        <a:pt x="662" y="2766"/>
                      </a:lnTo>
                      <a:lnTo>
                        <a:pt x="679" y="2785"/>
                      </a:lnTo>
                      <a:lnTo>
                        <a:pt x="690" y="2790"/>
                      </a:lnTo>
                      <a:lnTo>
                        <a:pt x="726" y="2790"/>
                      </a:lnTo>
                      <a:lnTo>
                        <a:pt x="745" y="2794"/>
                      </a:lnTo>
                      <a:lnTo>
                        <a:pt x="752" y="2794"/>
                      </a:lnTo>
                      <a:lnTo>
                        <a:pt x="759" y="2792"/>
                      </a:lnTo>
                      <a:lnTo>
                        <a:pt x="783" y="2778"/>
                      </a:lnTo>
                      <a:lnTo>
                        <a:pt x="787" y="2773"/>
                      </a:lnTo>
                      <a:lnTo>
                        <a:pt x="792" y="2766"/>
                      </a:lnTo>
                      <a:lnTo>
                        <a:pt x="795" y="2759"/>
                      </a:lnTo>
                      <a:lnTo>
                        <a:pt x="813" y="2747"/>
                      </a:lnTo>
                      <a:lnTo>
                        <a:pt x="823" y="2745"/>
                      </a:lnTo>
                      <a:lnTo>
                        <a:pt x="828" y="2745"/>
                      </a:lnTo>
                      <a:lnTo>
                        <a:pt x="832" y="2747"/>
                      </a:lnTo>
                      <a:lnTo>
                        <a:pt x="849" y="2730"/>
                      </a:lnTo>
                      <a:lnTo>
                        <a:pt x="854" y="2723"/>
                      </a:lnTo>
                      <a:lnTo>
                        <a:pt x="863" y="2702"/>
                      </a:lnTo>
                      <a:lnTo>
                        <a:pt x="868" y="2700"/>
                      </a:lnTo>
                      <a:lnTo>
                        <a:pt x="866" y="2697"/>
                      </a:lnTo>
                      <a:lnTo>
                        <a:pt x="866" y="2697"/>
                      </a:lnTo>
                      <a:lnTo>
                        <a:pt x="866" y="2697"/>
                      </a:lnTo>
                      <a:lnTo>
                        <a:pt x="866" y="2697"/>
                      </a:lnTo>
                      <a:lnTo>
                        <a:pt x="875" y="2690"/>
                      </a:lnTo>
                      <a:lnTo>
                        <a:pt x="877" y="2690"/>
                      </a:lnTo>
                      <a:lnTo>
                        <a:pt x="880" y="2685"/>
                      </a:lnTo>
                      <a:lnTo>
                        <a:pt x="882" y="2678"/>
                      </a:lnTo>
                      <a:lnTo>
                        <a:pt x="884" y="2676"/>
                      </a:lnTo>
                      <a:lnTo>
                        <a:pt x="887" y="2674"/>
                      </a:lnTo>
                      <a:lnTo>
                        <a:pt x="892" y="2669"/>
                      </a:lnTo>
                      <a:lnTo>
                        <a:pt x="896" y="2662"/>
                      </a:lnTo>
                      <a:lnTo>
                        <a:pt x="901" y="2650"/>
                      </a:lnTo>
                      <a:lnTo>
                        <a:pt x="906" y="2648"/>
                      </a:lnTo>
                      <a:lnTo>
                        <a:pt x="927" y="2640"/>
                      </a:lnTo>
                      <a:lnTo>
                        <a:pt x="932" y="2638"/>
                      </a:lnTo>
                      <a:lnTo>
                        <a:pt x="939" y="2629"/>
                      </a:lnTo>
                      <a:lnTo>
                        <a:pt x="941" y="2631"/>
                      </a:lnTo>
                      <a:lnTo>
                        <a:pt x="946" y="2624"/>
                      </a:lnTo>
                      <a:lnTo>
                        <a:pt x="948" y="2619"/>
                      </a:lnTo>
                      <a:lnTo>
                        <a:pt x="946" y="2600"/>
                      </a:lnTo>
                      <a:lnTo>
                        <a:pt x="946" y="2593"/>
                      </a:lnTo>
                      <a:lnTo>
                        <a:pt x="953" y="2588"/>
                      </a:lnTo>
                      <a:lnTo>
                        <a:pt x="960" y="2586"/>
                      </a:lnTo>
                      <a:lnTo>
                        <a:pt x="965" y="2581"/>
                      </a:lnTo>
                      <a:lnTo>
                        <a:pt x="967" y="2586"/>
                      </a:lnTo>
                      <a:lnTo>
                        <a:pt x="967" y="2588"/>
                      </a:lnTo>
                      <a:moveTo>
                        <a:pt x="1031" y="2593"/>
                      </a:moveTo>
                      <a:lnTo>
                        <a:pt x="1031" y="2593"/>
                      </a:lnTo>
                      <a:lnTo>
                        <a:pt x="1019" y="2598"/>
                      </a:lnTo>
                      <a:lnTo>
                        <a:pt x="1015" y="2598"/>
                      </a:lnTo>
                      <a:lnTo>
                        <a:pt x="1012" y="2596"/>
                      </a:lnTo>
                      <a:lnTo>
                        <a:pt x="1012" y="2591"/>
                      </a:lnTo>
                      <a:lnTo>
                        <a:pt x="1012" y="2588"/>
                      </a:lnTo>
                      <a:lnTo>
                        <a:pt x="1015" y="2588"/>
                      </a:lnTo>
                      <a:lnTo>
                        <a:pt x="1017" y="2586"/>
                      </a:lnTo>
                      <a:lnTo>
                        <a:pt x="1019" y="2584"/>
                      </a:lnTo>
                      <a:lnTo>
                        <a:pt x="1019" y="2579"/>
                      </a:lnTo>
                      <a:lnTo>
                        <a:pt x="1019" y="2579"/>
                      </a:lnTo>
                      <a:lnTo>
                        <a:pt x="1022" y="2577"/>
                      </a:lnTo>
                      <a:lnTo>
                        <a:pt x="1024" y="2577"/>
                      </a:lnTo>
                      <a:lnTo>
                        <a:pt x="1026" y="2577"/>
                      </a:lnTo>
                      <a:lnTo>
                        <a:pt x="1029" y="2579"/>
                      </a:lnTo>
                      <a:lnTo>
                        <a:pt x="1029" y="2581"/>
                      </a:lnTo>
                      <a:lnTo>
                        <a:pt x="1029" y="2586"/>
                      </a:lnTo>
                      <a:lnTo>
                        <a:pt x="1029" y="2588"/>
                      </a:lnTo>
                      <a:lnTo>
                        <a:pt x="1031" y="2591"/>
                      </a:lnTo>
                      <a:lnTo>
                        <a:pt x="1031" y="2593"/>
                      </a:lnTo>
                      <a:lnTo>
                        <a:pt x="1031" y="2593"/>
                      </a:lnTo>
                      <a:moveTo>
                        <a:pt x="1254" y="2084"/>
                      </a:moveTo>
                      <a:lnTo>
                        <a:pt x="1254" y="2084"/>
                      </a:lnTo>
                      <a:lnTo>
                        <a:pt x="1254" y="2092"/>
                      </a:lnTo>
                      <a:lnTo>
                        <a:pt x="1246" y="2089"/>
                      </a:lnTo>
                      <a:lnTo>
                        <a:pt x="1246" y="2082"/>
                      </a:lnTo>
                      <a:lnTo>
                        <a:pt x="1249" y="2080"/>
                      </a:lnTo>
                      <a:lnTo>
                        <a:pt x="1254" y="2084"/>
                      </a:lnTo>
                      <a:moveTo>
                        <a:pt x="1443" y="2063"/>
                      </a:moveTo>
                      <a:lnTo>
                        <a:pt x="1443" y="2063"/>
                      </a:lnTo>
                      <a:lnTo>
                        <a:pt x="1438" y="2066"/>
                      </a:lnTo>
                      <a:lnTo>
                        <a:pt x="1426" y="2054"/>
                      </a:lnTo>
                      <a:lnTo>
                        <a:pt x="1422" y="2051"/>
                      </a:lnTo>
                      <a:lnTo>
                        <a:pt x="1424" y="2047"/>
                      </a:lnTo>
                      <a:lnTo>
                        <a:pt x="1424" y="2042"/>
                      </a:lnTo>
                      <a:lnTo>
                        <a:pt x="1426" y="2040"/>
                      </a:lnTo>
                      <a:lnTo>
                        <a:pt x="1431" y="2042"/>
                      </a:lnTo>
                      <a:lnTo>
                        <a:pt x="1436" y="2044"/>
                      </a:lnTo>
                      <a:lnTo>
                        <a:pt x="1440" y="2054"/>
                      </a:lnTo>
                      <a:lnTo>
                        <a:pt x="1445" y="2056"/>
                      </a:lnTo>
                      <a:lnTo>
                        <a:pt x="1443" y="2058"/>
                      </a:lnTo>
                      <a:lnTo>
                        <a:pt x="1443" y="2063"/>
                      </a:lnTo>
                      <a:moveTo>
                        <a:pt x="1173" y="1992"/>
                      </a:moveTo>
                      <a:lnTo>
                        <a:pt x="1173" y="1992"/>
                      </a:lnTo>
                      <a:lnTo>
                        <a:pt x="1171" y="1995"/>
                      </a:lnTo>
                      <a:lnTo>
                        <a:pt x="1166" y="1995"/>
                      </a:lnTo>
                      <a:lnTo>
                        <a:pt x="1161" y="1995"/>
                      </a:lnTo>
                      <a:lnTo>
                        <a:pt x="1159" y="1992"/>
                      </a:lnTo>
                      <a:lnTo>
                        <a:pt x="1159" y="1990"/>
                      </a:lnTo>
                      <a:lnTo>
                        <a:pt x="1161" y="1987"/>
                      </a:lnTo>
                      <a:lnTo>
                        <a:pt x="1164" y="1983"/>
                      </a:lnTo>
                      <a:lnTo>
                        <a:pt x="1166" y="1978"/>
                      </a:lnTo>
                      <a:lnTo>
                        <a:pt x="1168" y="1978"/>
                      </a:lnTo>
                      <a:lnTo>
                        <a:pt x="1168" y="1983"/>
                      </a:lnTo>
                      <a:lnTo>
                        <a:pt x="1171" y="1985"/>
                      </a:lnTo>
                      <a:lnTo>
                        <a:pt x="1173" y="1987"/>
                      </a:lnTo>
                      <a:lnTo>
                        <a:pt x="1173" y="1987"/>
                      </a:lnTo>
                      <a:lnTo>
                        <a:pt x="1173" y="1990"/>
                      </a:lnTo>
                      <a:lnTo>
                        <a:pt x="1173" y="1992"/>
                      </a:lnTo>
                      <a:moveTo>
                        <a:pt x="1265" y="1879"/>
                      </a:moveTo>
                      <a:lnTo>
                        <a:pt x="1265" y="1879"/>
                      </a:lnTo>
                      <a:lnTo>
                        <a:pt x="1268" y="1883"/>
                      </a:lnTo>
                      <a:lnTo>
                        <a:pt x="1265" y="1890"/>
                      </a:lnTo>
                      <a:lnTo>
                        <a:pt x="1263" y="1895"/>
                      </a:lnTo>
                      <a:lnTo>
                        <a:pt x="1261" y="1900"/>
                      </a:lnTo>
                      <a:lnTo>
                        <a:pt x="1254" y="1902"/>
                      </a:lnTo>
                      <a:lnTo>
                        <a:pt x="1261" y="1905"/>
                      </a:lnTo>
                      <a:lnTo>
                        <a:pt x="1268" y="1909"/>
                      </a:lnTo>
                      <a:lnTo>
                        <a:pt x="1270" y="1919"/>
                      </a:lnTo>
                      <a:lnTo>
                        <a:pt x="1265" y="1924"/>
                      </a:lnTo>
                      <a:lnTo>
                        <a:pt x="1263" y="1921"/>
                      </a:lnTo>
                      <a:lnTo>
                        <a:pt x="1261" y="1921"/>
                      </a:lnTo>
                      <a:lnTo>
                        <a:pt x="1258" y="1921"/>
                      </a:lnTo>
                      <a:lnTo>
                        <a:pt x="1254" y="1919"/>
                      </a:lnTo>
                      <a:lnTo>
                        <a:pt x="1254" y="1919"/>
                      </a:lnTo>
                      <a:lnTo>
                        <a:pt x="1249" y="1909"/>
                      </a:lnTo>
                      <a:lnTo>
                        <a:pt x="1246" y="1909"/>
                      </a:lnTo>
                      <a:lnTo>
                        <a:pt x="1244" y="1907"/>
                      </a:lnTo>
                      <a:lnTo>
                        <a:pt x="1239" y="1905"/>
                      </a:lnTo>
                      <a:lnTo>
                        <a:pt x="1235" y="1905"/>
                      </a:lnTo>
                      <a:lnTo>
                        <a:pt x="1232" y="1914"/>
                      </a:lnTo>
                      <a:lnTo>
                        <a:pt x="1227" y="1907"/>
                      </a:lnTo>
                      <a:lnTo>
                        <a:pt x="1218" y="1914"/>
                      </a:lnTo>
                      <a:lnTo>
                        <a:pt x="1211" y="1909"/>
                      </a:lnTo>
                      <a:lnTo>
                        <a:pt x="1209" y="1917"/>
                      </a:lnTo>
                      <a:lnTo>
                        <a:pt x="1209" y="1919"/>
                      </a:lnTo>
                      <a:lnTo>
                        <a:pt x="1206" y="1921"/>
                      </a:lnTo>
                      <a:lnTo>
                        <a:pt x="1180" y="1924"/>
                      </a:lnTo>
                      <a:lnTo>
                        <a:pt x="1173" y="1921"/>
                      </a:lnTo>
                      <a:lnTo>
                        <a:pt x="1168" y="1917"/>
                      </a:lnTo>
                      <a:lnTo>
                        <a:pt x="1164" y="1905"/>
                      </a:lnTo>
                      <a:lnTo>
                        <a:pt x="1166" y="1898"/>
                      </a:lnTo>
                      <a:lnTo>
                        <a:pt x="1173" y="1893"/>
                      </a:lnTo>
                      <a:lnTo>
                        <a:pt x="1180" y="1888"/>
                      </a:lnTo>
                      <a:lnTo>
                        <a:pt x="1187" y="1888"/>
                      </a:lnTo>
                      <a:lnTo>
                        <a:pt x="1190" y="1888"/>
                      </a:lnTo>
                      <a:lnTo>
                        <a:pt x="1197" y="1890"/>
                      </a:lnTo>
                      <a:lnTo>
                        <a:pt x="1201" y="1890"/>
                      </a:lnTo>
                      <a:lnTo>
                        <a:pt x="1206" y="1890"/>
                      </a:lnTo>
                      <a:lnTo>
                        <a:pt x="1213" y="1890"/>
                      </a:lnTo>
                      <a:lnTo>
                        <a:pt x="1213" y="1888"/>
                      </a:lnTo>
                      <a:lnTo>
                        <a:pt x="1213" y="1888"/>
                      </a:lnTo>
                      <a:lnTo>
                        <a:pt x="1213" y="1888"/>
                      </a:lnTo>
                      <a:lnTo>
                        <a:pt x="1211" y="1886"/>
                      </a:lnTo>
                      <a:lnTo>
                        <a:pt x="1216" y="1883"/>
                      </a:lnTo>
                      <a:lnTo>
                        <a:pt x="1216" y="1881"/>
                      </a:lnTo>
                      <a:lnTo>
                        <a:pt x="1216" y="1881"/>
                      </a:lnTo>
                      <a:lnTo>
                        <a:pt x="1220" y="1881"/>
                      </a:lnTo>
                      <a:lnTo>
                        <a:pt x="1232" y="1879"/>
                      </a:lnTo>
                      <a:lnTo>
                        <a:pt x="1232" y="1883"/>
                      </a:lnTo>
                      <a:lnTo>
                        <a:pt x="1235" y="1886"/>
                      </a:lnTo>
                      <a:lnTo>
                        <a:pt x="1239" y="1886"/>
                      </a:lnTo>
                      <a:lnTo>
                        <a:pt x="1242" y="1886"/>
                      </a:lnTo>
                      <a:lnTo>
                        <a:pt x="1242" y="1881"/>
                      </a:lnTo>
                      <a:lnTo>
                        <a:pt x="1244" y="1879"/>
                      </a:lnTo>
                      <a:lnTo>
                        <a:pt x="1246" y="1876"/>
                      </a:lnTo>
                      <a:lnTo>
                        <a:pt x="1249" y="1874"/>
                      </a:lnTo>
                      <a:lnTo>
                        <a:pt x="1251" y="1862"/>
                      </a:lnTo>
                      <a:lnTo>
                        <a:pt x="1251" y="1857"/>
                      </a:lnTo>
                      <a:lnTo>
                        <a:pt x="1256" y="1855"/>
                      </a:lnTo>
                      <a:lnTo>
                        <a:pt x="1258" y="1855"/>
                      </a:lnTo>
                      <a:lnTo>
                        <a:pt x="1263" y="1857"/>
                      </a:lnTo>
                      <a:lnTo>
                        <a:pt x="1265" y="1862"/>
                      </a:lnTo>
                      <a:lnTo>
                        <a:pt x="1268" y="1864"/>
                      </a:lnTo>
                      <a:lnTo>
                        <a:pt x="1265" y="1869"/>
                      </a:lnTo>
                      <a:lnTo>
                        <a:pt x="1263" y="1874"/>
                      </a:lnTo>
                      <a:lnTo>
                        <a:pt x="1265" y="1879"/>
                      </a:lnTo>
                      <a:moveTo>
                        <a:pt x="1071" y="1798"/>
                      </a:moveTo>
                      <a:lnTo>
                        <a:pt x="1071" y="1798"/>
                      </a:lnTo>
                      <a:lnTo>
                        <a:pt x="1071" y="1798"/>
                      </a:lnTo>
                      <a:lnTo>
                        <a:pt x="1074" y="1798"/>
                      </a:lnTo>
                      <a:lnTo>
                        <a:pt x="1071" y="1808"/>
                      </a:lnTo>
                      <a:lnTo>
                        <a:pt x="1069" y="1815"/>
                      </a:lnTo>
                      <a:lnTo>
                        <a:pt x="1062" y="1817"/>
                      </a:lnTo>
                      <a:lnTo>
                        <a:pt x="1057" y="1810"/>
                      </a:lnTo>
                      <a:lnTo>
                        <a:pt x="1062" y="1793"/>
                      </a:lnTo>
                      <a:lnTo>
                        <a:pt x="1064" y="1789"/>
                      </a:lnTo>
                      <a:lnTo>
                        <a:pt x="1069" y="1796"/>
                      </a:lnTo>
                      <a:lnTo>
                        <a:pt x="1071" y="1796"/>
                      </a:lnTo>
                      <a:lnTo>
                        <a:pt x="1071" y="1798"/>
                      </a:lnTo>
                      <a:moveTo>
                        <a:pt x="1521" y="50"/>
                      </a:moveTo>
                      <a:lnTo>
                        <a:pt x="1521" y="50"/>
                      </a:lnTo>
                      <a:lnTo>
                        <a:pt x="1523" y="59"/>
                      </a:lnTo>
                      <a:lnTo>
                        <a:pt x="1528" y="64"/>
                      </a:lnTo>
                      <a:lnTo>
                        <a:pt x="1530" y="66"/>
                      </a:lnTo>
                      <a:lnTo>
                        <a:pt x="1530" y="71"/>
                      </a:lnTo>
                      <a:lnTo>
                        <a:pt x="1526" y="76"/>
                      </a:lnTo>
                      <a:lnTo>
                        <a:pt x="1530" y="76"/>
                      </a:lnTo>
                      <a:lnTo>
                        <a:pt x="1537" y="76"/>
                      </a:lnTo>
                      <a:lnTo>
                        <a:pt x="1540" y="78"/>
                      </a:lnTo>
                      <a:lnTo>
                        <a:pt x="1545" y="81"/>
                      </a:lnTo>
                      <a:lnTo>
                        <a:pt x="1547" y="83"/>
                      </a:lnTo>
                      <a:lnTo>
                        <a:pt x="1547" y="85"/>
                      </a:lnTo>
                      <a:lnTo>
                        <a:pt x="1552" y="85"/>
                      </a:lnTo>
                      <a:lnTo>
                        <a:pt x="1563" y="85"/>
                      </a:lnTo>
                      <a:lnTo>
                        <a:pt x="1568" y="88"/>
                      </a:lnTo>
                      <a:lnTo>
                        <a:pt x="1573" y="95"/>
                      </a:lnTo>
                      <a:lnTo>
                        <a:pt x="1573" y="102"/>
                      </a:lnTo>
                      <a:lnTo>
                        <a:pt x="1573" y="104"/>
                      </a:lnTo>
                      <a:lnTo>
                        <a:pt x="1573" y="107"/>
                      </a:lnTo>
                      <a:lnTo>
                        <a:pt x="1573" y="111"/>
                      </a:lnTo>
                      <a:lnTo>
                        <a:pt x="1573" y="118"/>
                      </a:lnTo>
                      <a:lnTo>
                        <a:pt x="1575" y="121"/>
                      </a:lnTo>
                      <a:lnTo>
                        <a:pt x="1578" y="121"/>
                      </a:lnTo>
                      <a:lnTo>
                        <a:pt x="1580" y="123"/>
                      </a:lnTo>
                      <a:lnTo>
                        <a:pt x="1587" y="126"/>
                      </a:lnTo>
                      <a:lnTo>
                        <a:pt x="1592" y="126"/>
                      </a:lnTo>
                      <a:lnTo>
                        <a:pt x="1597" y="128"/>
                      </a:lnTo>
                      <a:lnTo>
                        <a:pt x="1601" y="135"/>
                      </a:lnTo>
                      <a:lnTo>
                        <a:pt x="1608" y="149"/>
                      </a:lnTo>
                      <a:lnTo>
                        <a:pt x="1620" y="156"/>
                      </a:lnTo>
                      <a:lnTo>
                        <a:pt x="1632" y="159"/>
                      </a:lnTo>
                      <a:lnTo>
                        <a:pt x="1649" y="159"/>
                      </a:lnTo>
                      <a:lnTo>
                        <a:pt x="1658" y="163"/>
                      </a:lnTo>
                      <a:lnTo>
                        <a:pt x="1663" y="166"/>
                      </a:lnTo>
                      <a:lnTo>
                        <a:pt x="1668" y="166"/>
                      </a:lnTo>
                      <a:lnTo>
                        <a:pt x="1684" y="161"/>
                      </a:lnTo>
                      <a:lnTo>
                        <a:pt x="1698" y="159"/>
                      </a:lnTo>
                      <a:lnTo>
                        <a:pt x="1701" y="161"/>
                      </a:lnTo>
                      <a:lnTo>
                        <a:pt x="1708" y="163"/>
                      </a:lnTo>
                      <a:lnTo>
                        <a:pt x="1710" y="163"/>
                      </a:lnTo>
                      <a:lnTo>
                        <a:pt x="1713" y="163"/>
                      </a:lnTo>
                      <a:lnTo>
                        <a:pt x="1717" y="161"/>
                      </a:lnTo>
                      <a:lnTo>
                        <a:pt x="1720" y="161"/>
                      </a:lnTo>
                      <a:lnTo>
                        <a:pt x="1729" y="163"/>
                      </a:lnTo>
                      <a:lnTo>
                        <a:pt x="1748" y="170"/>
                      </a:lnTo>
                      <a:lnTo>
                        <a:pt x="1814" y="166"/>
                      </a:lnTo>
                      <a:lnTo>
                        <a:pt x="1840" y="166"/>
                      </a:lnTo>
                      <a:lnTo>
                        <a:pt x="1859" y="175"/>
                      </a:lnTo>
                      <a:lnTo>
                        <a:pt x="1866" y="175"/>
                      </a:lnTo>
                      <a:lnTo>
                        <a:pt x="1878" y="175"/>
                      </a:lnTo>
                      <a:lnTo>
                        <a:pt x="1907" y="163"/>
                      </a:lnTo>
                      <a:lnTo>
                        <a:pt x="1918" y="163"/>
                      </a:lnTo>
                      <a:lnTo>
                        <a:pt x="1935" y="159"/>
                      </a:lnTo>
                      <a:lnTo>
                        <a:pt x="1937" y="161"/>
                      </a:lnTo>
                      <a:lnTo>
                        <a:pt x="1942" y="163"/>
                      </a:lnTo>
                      <a:lnTo>
                        <a:pt x="1944" y="166"/>
                      </a:lnTo>
                      <a:lnTo>
                        <a:pt x="1959" y="163"/>
                      </a:lnTo>
                      <a:lnTo>
                        <a:pt x="1994" y="168"/>
                      </a:lnTo>
                      <a:lnTo>
                        <a:pt x="1999" y="168"/>
                      </a:lnTo>
                      <a:lnTo>
                        <a:pt x="2004" y="168"/>
                      </a:lnTo>
                      <a:lnTo>
                        <a:pt x="2004" y="170"/>
                      </a:lnTo>
                      <a:lnTo>
                        <a:pt x="2004" y="173"/>
                      </a:lnTo>
                      <a:lnTo>
                        <a:pt x="2004" y="175"/>
                      </a:lnTo>
                      <a:lnTo>
                        <a:pt x="2001" y="180"/>
                      </a:lnTo>
                      <a:lnTo>
                        <a:pt x="2004" y="189"/>
                      </a:lnTo>
                      <a:lnTo>
                        <a:pt x="2001" y="196"/>
                      </a:lnTo>
                      <a:lnTo>
                        <a:pt x="1996" y="201"/>
                      </a:lnTo>
                      <a:lnTo>
                        <a:pt x="1989" y="201"/>
                      </a:lnTo>
                      <a:lnTo>
                        <a:pt x="1980" y="204"/>
                      </a:lnTo>
                      <a:lnTo>
                        <a:pt x="1973" y="213"/>
                      </a:lnTo>
                      <a:lnTo>
                        <a:pt x="1970" y="223"/>
                      </a:lnTo>
                      <a:lnTo>
                        <a:pt x="1963" y="230"/>
                      </a:lnTo>
                      <a:lnTo>
                        <a:pt x="1951" y="241"/>
                      </a:lnTo>
                      <a:lnTo>
                        <a:pt x="1947" y="246"/>
                      </a:lnTo>
                      <a:lnTo>
                        <a:pt x="1942" y="249"/>
                      </a:lnTo>
                      <a:lnTo>
                        <a:pt x="1940" y="251"/>
                      </a:lnTo>
                      <a:lnTo>
                        <a:pt x="1937" y="253"/>
                      </a:lnTo>
                      <a:lnTo>
                        <a:pt x="1935" y="263"/>
                      </a:lnTo>
                      <a:lnTo>
                        <a:pt x="1930" y="275"/>
                      </a:lnTo>
                      <a:lnTo>
                        <a:pt x="1923" y="279"/>
                      </a:lnTo>
                      <a:lnTo>
                        <a:pt x="1925" y="284"/>
                      </a:lnTo>
                      <a:lnTo>
                        <a:pt x="1928" y="289"/>
                      </a:lnTo>
                      <a:lnTo>
                        <a:pt x="1933" y="298"/>
                      </a:lnTo>
                      <a:lnTo>
                        <a:pt x="1933" y="298"/>
                      </a:lnTo>
                      <a:lnTo>
                        <a:pt x="1933" y="298"/>
                      </a:lnTo>
                      <a:lnTo>
                        <a:pt x="1937" y="303"/>
                      </a:lnTo>
                      <a:lnTo>
                        <a:pt x="1940" y="310"/>
                      </a:lnTo>
                      <a:lnTo>
                        <a:pt x="1942" y="312"/>
                      </a:lnTo>
                      <a:lnTo>
                        <a:pt x="1949" y="310"/>
                      </a:lnTo>
                      <a:lnTo>
                        <a:pt x="1944" y="303"/>
                      </a:lnTo>
                      <a:lnTo>
                        <a:pt x="1949" y="303"/>
                      </a:lnTo>
                      <a:lnTo>
                        <a:pt x="1959" y="303"/>
                      </a:lnTo>
                      <a:lnTo>
                        <a:pt x="1963" y="305"/>
                      </a:lnTo>
                      <a:lnTo>
                        <a:pt x="1970" y="305"/>
                      </a:lnTo>
                      <a:lnTo>
                        <a:pt x="1977" y="308"/>
                      </a:lnTo>
                      <a:lnTo>
                        <a:pt x="1987" y="315"/>
                      </a:lnTo>
                      <a:lnTo>
                        <a:pt x="1994" y="315"/>
                      </a:lnTo>
                      <a:lnTo>
                        <a:pt x="2004" y="312"/>
                      </a:lnTo>
                      <a:lnTo>
                        <a:pt x="2011" y="312"/>
                      </a:lnTo>
                      <a:lnTo>
                        <a:pt x="2013" y="320"/>
                      </a:lnTo>
                      <a:lnTo>
                        <a:pt x="2008" y="338"/>
                      </a:lnTo>
                      <a:lnTo>
                        <a:pt x="1980" y="367"/>
                      </a:lnTo>
                      <a:lnTo>
                        <a:pt x="1975" y="379"/>
                      </a:lnTo>
                      <a:lnTo>
                        <a:pt x="1977" y="379"/>
                      </a:lnTo>
                      <a:lnTo>
                        <a:pt x="1977" y="383"/>
                      </a:lnTo>
                      <a:lnTo>
                        <a:pt x="1977" y="386"/>
                      </a:lnTo>
                      <a:lnTo>
                        <a:pt x="1977" y="388"/>
                      </a:lnTo>
                      <a:lnTo>
                        <a:pt x="1975" y="390"/>
                      </a:lnTo>
                      <a:lnTo>
                        <a:pt x="1970" y="395"/>
                      </a:lnTo>
                      <a:lnTo>
                        <a:pt x="1975" y="400"/>
                      </a:lnTo>
                      <a:lnTo>
                        <a:pt x="1977" y="400"/>
                      </a:lnTo>
                      <a:lnTo>
                        <a:pt x="1977" y="400"/>
                      </a:lnTo>
                      <a:lnTo>
                        <a:pt x="1977" y="400"/>
                      </a:lnTo>
                      <a:lnTo>
                        <a:pt x="1977" y="400"/>
                      </a:lnTo>
                      <a:lnTo>
                        <a:pt x="1977" y="402"/>
                      </a:lnTo>
                      <a:lnTo>
                        <a:pt x="1987" y="409"/>
                      </a:lnTo>
                      <a:lnTo>
                        <a:pt x="1996" y="407"/>
                      </a:lnTo>
                      <a:lnTo>
                        <a:pt x="2006" y="400"/>
                      </a:lnTo>
                      <a:lnTo>
                        <a:pt x="2015" y="398"/>
                      </a:lnTo>
                      <a:lnTo>
                        <a:pt x="2020" y="405"/>
                      </a:lnTo>
                      <a:lnTo>
                        <a:pt x="2020" y="421"/>
                      </a:lnTo>
                      <a:lnTo>
                        <a:pt x="2013" y="450"/>
                      </a:lnTo>
                      <a:lnTo>
                        <a:pt x="2015" y="464"/>
                      </a:lnTo>
                      <a:lnTo>
                        <a:pt x="2020" y="471"/>
                      </a:lnTo>
                      <a:lnTo>
                        <a:pt x="2030" y="476"/>
                      </a:lnTo>
                      <a:lnTo>
                        <a:pt x="2039" y="476"/>
                      </a:lnTo>
                      <a:lnTo>
                        <a:pt x="2044" y="476"/>
                      </a:lnTo>
                      <a:lnTo>
                        <a:pt x="2060" y="485"/>
                      </a:lnTo>
                      <a:lnTo>
                        <a:pt x="2082" y="490"/>
                      </a:lnTo>
                      <a:lnTo>
                        <a:pt x="2112" y="525"/>
                      </a:lnTo>
                      <a:lnTo>
                        <a:pt x="2115" y="528"/>
                      </a:lnTo>
                      <a:lnTo>
                        <a:pt x="2119" y="530"/>
                      </a:lnTo>
                      <a:lnTo>
                        <a:pt x="2124" y="530"/>
                      </a:lnTo>
                      <a:lnTo>
                        <a:pt x="2124" y="530"/>
                      </a:lnTo>
                      <a:lnTo>
                        <a:pt x="2122" y="537"/>
                      </a:lnTo>
                      <a:lnTo>
                        <a:pt x="2115" y="554"/>
                      </a:lnTo>
                      <a:lnTo>
                        <a:pt x="2101" y="556"/>
                      </a:lnTo>
                      <a:lnTo>
                        <a:pt x="2089" y="554"/>
                      </a:lnTo>
                      <a:lnTo>
                        <a:pt x="2074" y="556"/>
                      </a:lnTo>
                      <a:lnTo>
                        <a:pt x="2074" y="554"/>
                      </a:lnTo>
                      <a:lnTo>
                        <a:pt x="2077" y="547"/>
                      </a:lnTo>
                      <a:lnTo>
                        <a:pt x="2086" y="547"/>
                      </a:lnTo>
                      <a:lnTo>
                        <a:pt x="2093" y="544"/>
                      </a:lnTo>
                      <a:lnTo>
                        <a:pt x="2101" y="542"/>
                      </a:lnTo>
                      <a:lnTo>
                        <a:pt x="2096" y="542"/>
                      </a:lnTo>
                      <a:lnTo>
                        <a:pt x="2093" y="540"/>
                      </a:lnTo>
                      <a:lnTo>
                        <a:pt x="2089" y="535"/>
                      </a:lnTo>
                      <a:lnTo>
                        <a:pt x="2077" y="532"/>
                      </a:lnTo>
                      <a:lnTo>
                        <a:pt x="2082" y="528"/>
                      </a:lnTo>
                      <a:lnTo>
                        <a:pt x="2079" y="521"/>
                      </a:lnTo>
                      <a:lnTo>
                        <a:pt x="2074" y="514"/>
                      </a:lnTo>
                      <a:lnTo>
                        <a:pt x="2070" y="509"/>
                      </a:lnTo>
                      <a:lnTo>
                        <a:pt x="2044" y="490"/>
                      </a:lnTo>
                      <a:lnTo>
                        <a:pt x="2037" y="485"/>
                      </a:lnTo>
                      <a:lnTo>
                        <a:pt x="2020" y="480"/>
                      </a:lnTo>
                      <a:lnTo>
                        <a:pt x="2013" y="480"/>
                      </a:lnTo>
                      <a:lnTo>
                        <a:pt x="2008" y="485"/>
                      </a:lnTo>
                      <a:lnTo>
                        <a:pt x="2008" y="495"/>
                      </a:lnTo>
                      <a:lnTo>
                        <a:pt x="2011" y="504"/>
                      </a:lnTo>
                      <a:lnTo>
                        <a:pt x="2018" y="504"/>
                      </a:lnTo>
                      <a:lnTo>
                        <a:pt x="2008" y="511"/>
                      </a:lnTo>
                      <a:lnTo>
                        <a:pt x="2006" y="514"/>
                      </a:lnTo>
                      <a:lnTo>
                        <a:pt x="2006" y="516"/>
                      </a:lnTo>
                      <a:lnTo>
                        <a:pt x="1999" y="518"/>
                      </a:lnTo>
                      <a:lnTo>
                        <a:pt x="1994" y="521"/>
                      </a:lnTo>
                      <a:lnTo>
                        <a:pt x="1992" y="528"/>
                      </a:lnTo>
                      <a:lnTo>
                        <a:pt x="1985" y="535"/>
                      </a:lnTo>
                      <a:lnTo>
                        <a:pt x="1977" y="537"/>
                      </a:lnTo>
                      <a:lnTo>
                        <a:pt x="1970" y="535"/>
                      </a:lnTo>
                      <a:lnTo>
                        <a:pt x="1975" y="532"/>
                      </a:lnTo>
                      <a:lnTo>
                        <a:pt x="1980" y="530"/>
                      </a:lnTo>
                      <a:lnTo>
                        <a:pt x="1982" y="525"/>
                      </a:lnTo>
                      <a:lnTo>
                        <a:pt x="1985" y="523"/>
                      </a:lnTo>
                      <a:lnTo>
                        <a:pt x="1980" y="516"/>
                      </a:lnTo>
                      <a:lnTo>
                        <a:pt x="1968" y="516"/>
                      </a:lnTo>
                      <a:lnTo>
                        <a:pt x="1963" y="509"/>
                      </a:lnTo>
                      <a:lnTo>
                        <a:pt x="1959" y="514"/>
                      </a:lnTo>
                      <a:lnTo>
                        <a:pt x="1930" y="511"/>
                      </a:lnTo>
                      <a:lnTo>
                        <a:pt x="1928" y="509"/>
                      </a:lnTo>
                      <a:lnTo>
                        <a:pt x="1918" y="504"/>
                      </a:lnTo>
                      <a:lnTo>
                        <a:pt x="1916" y="502"/>
                      </a:lnTo>
                      <a:lnTo>
                        <a:pt x="1914" y="504"/>
                      </a:lnTo>
                      <a:lnTo>
                        <a:pt x="1904" y="509"/>
                      </a:lnTo>
                      <a:lnTo>
                        <a:pt x="1902" y="516"/>
                      </a:lnTo>
                      <a:lnTo>
                        <a:pt x="1899" y="518"/>
                      </a:lnTo>
                      <a:lnTo>
                        <a:pt x="1897" y="516"/>
                      </a:lnTo>
                      <a:lnTo>
                        <a:pt x="1892" y="511"/>
                      </a:lnTo>
                      <a:lnTo>
                        <a:pt x="1890" y="511"/>
                      </a:lnTo>
                      <a:lnTo>
                        <a:pt x="1888" y="514"/>
                      </a:lnTo>
                      <a:lnTo>
                        <a:pt x="1888" y="516"/>
                      </a:lnTo>
                      <a:lnTo>
                        <a:pt x="1888" y="521"/>
                      </a:lnTo>
                      <a:lnTo>
                        <a:pt x="1892" y="521"/>
                      </a:lnTo>
                      <a:lnTo>
                        <a:pt x="1892" y="525"/>
                      </a:lnTo>
                      <a:lnTo>
                        <a:pt x="1885" y="525"/>
                      </a:lnTo>
                      <a:lnTo>
                        <a:pt x="1880" y="530"/>
                      </a:lnTo>
                      <a:lnTo>
                        <a:pt x="1878" y="537"/>
                      </a:lnTo>
                      <a:lnTo>
                        <a:pt x="1880" y="544"/>
                      </a:lnTo>
                      <a:lnTo>
                        <a:pt x="1888" y="547"/>
                      </a:lnTo>
                      <a:lnTo>
                        <a:pt x="1892" y="544"/>
                      </a:lnTo>
                      <a:lnTo>
                        <a:pt x="1902" y="537"/>
                      </a:lnTo>
                      <a:lnTo>
                        <a:pt x="1899" y="544"/>
                      </a:lnTo>
                      <a:lnTo>
                        <a:pt x="1892" y="554"/>
                      </a:lnTo>
                      <a:lnTo>
                        <a:pt x="1890" y="561"/>
                      </a:lnTo>
                      <a:lnTo>
                        <a:pt x="1888" y="568"/>
                      </a:lnTo>
                      <a:lnTo>
                        <a:pt x="1880" y="570"/>
                      </a:lnTo>
                      <a:lnTo>
                        <a:pt x="1859" y="575"/>
                      </a:lnTo>
                      <a:lnTo>
                        <a:pt x="1847" y="580"/>
                      </a:lnTo>
                      <a:lnTo>
                        <a:pt x="1805" y="618"/>
                      </a:lnTo>
                      <a:lnTo>
                        <a:pt x="1760" y="651"/>
                      </a:lnTo>
                      <a:lnTo>
                        <a:pt x="1734" y="665"/>
                      </a:lnTo>
                      <a:lnTo>
                        <a:pt x="1729" y="672"/>
                      </a:lnTo>
                      <a:lnTo>
                        <a:pt x="1727" y="672"/>
                      </a:lnTo>
                      <a:lnTo>
                        <a:pt x="1717" y="677"/>
                      </a:lnTo>
                      <a:lnTo>
                        <a:pt x="1708" y="684"/>
                      </a:lnTo>
                      <a:lnTo>
                        <a:pt x="1705" y="686"/>
                      </a:lnTo>
                      <a:lnTo>
                        <a:pt x="1705" y="679"/>
                      </a:lnTo>
                      <a:lnTo>
                        <a:pt x="1708" y="672"/>
                      </a:lnTo>
                      <a:lnTo>
                        <a:pt x="1710" y="667"/>
                      </a:lnTo>
                      <a:lnTo>
                        <a:pt x="1708" y="665"/>
                      </a:lnTo>
                      <a:lnTo>
                        <a:pt x="1710" y="665"/>
                      </a:lnTo>
                      <a:lnTo>
                        <a:pt x="1713" y="663"/>
                      </a:lnTo>
                      <a:lnTo>
                        <a:pt x="1713" y="660"/>
                      </a:lnTo>
                      <a:lnTo>
                        <a:pt x="1713" y="658"/>
                      </a:lnTo>
                      <a:lnTo>
                        <a:pt x="1715" y="658"/>
                      </a:lnTo>
                      <a:lnTo>
                        <a:pt x="1717" y="660"/>
                      </a:lnTo>
                      <a:lnTo>
                        <a:pt x="1717" y="663"/>
                      </a:lnTo>
                      <a:lnTo>
                        <a:pt x="1720" y="660"/>
                      </a:lnTo>
                      <a:lnTo>
                        <a:pt x="1722" y="658"/>
                      </a:lnTo>
                      <a:lnTo>
                        <a:pt x="1717" y="653"/>
                      </a:lnTo>
                      <a:lnTo>
                        <a:pt x="1720" y="653"/>
                      </a:lnTo>
                      <a:lnTo>
                        <a:pt x="1722" y="653"/>
                      </a:lnTo>
                      <a:lnTo>
                        <a:pt x="1727" y="651"/>
                      </a:lnTo>
                      <a:lnTo>
                        <a:pt x="1727" y="653"/>
                      </a:lnTo>
                      <a:lnTo>
                        <a:pt x="1727" y="651"/>
                      </a:lnTo>
                      <a:lnTo>
                        <a:pt x="1727" y="653"/>
                      </a:lnTo>
                      <a:lnTo>
                        <a:pt x="1729" y="653"/>
                      </a:lnTo>
                      <a:lnTo>
                        <a:pt x="1729" y="655"/>
                      </a:lnTo>
                      <a:lnTo>
                        <a:pt x="1729" y="655"/>
                      </a:lnTo>
                      <a:lnTo>
                        <a:pt x="1724" y="655"/>
                      </a:lnTo>
                      <a:lnTo>
                        <a:pt x="1727" y="658"/>
                      </a:lnTo>
                      <a:lnTo>
                        <a:pt x="1731" y="655"/>
                      </a:lnTo>
                      <a:lnTo>
                        <a:pt x="1734" y="651"/>
                      </a:lnTo>
                      <a:lnTo>
                        <a:pt x="1731" y="646"/>
                      </a:lnTo>
                      <a:lnTo>
                        <a:pt x="1734" y="641"/>
                      </a:lnTo>
                      <a:lnTo>
                        <a:pt x="1739" y="641"/>
                      </a:lnTo>
                      <a:lnTo>
                        <a:pt x="1743" y="639"/>
                      </a:lnTo>
                      <a:lnTo>
                        <a:pt x="1746" y="634"/>
                      </a:lnTo>
                      <a:lnTo>
                        <a:pt x="1748" y="627"/>
                      </a:lnTo>
                      <a:lnTo>
                        <a:pt x="1743" y="629"/>
                      </a:lnTo>
                      <a:lnTo>
                        <a:pt x="1739" y="637"/>
                      </a:lnTo>
                      <a:lnTo>
                        <a:pt x="1736" y="637"/>
                      </a:lnTo>
                      <a:lnTo>
                        <a:pt x="1729" y="632"/>
                      </a:lnTo>
                      <a:lnTo>
                        <a:pt x="1727" y="629"/>
                      </a:lnTo>
                      <a:lnTo>
                        <a:pt x="1724" y="622"/>
                      </a:lnTo>
                      <a:lnTo>
                        <a:pt x="1720" y="627"/>
                      </a:lnTo>
                      <a:lnTo>
                        <a:pt x="1713" y="637"/>
                      </a:lnTo>
                      <a:lnTo>
                        <a:pt x="1708" y="644"/>
                      </a:lnTo>
                      <a:lnTo>
                        <a:pt x="1713" y="648"/>
                      </a:lnTo>
                      <a:lnTo>
                        <a:pt x="1713" y="651"/>
                      </a:lnTo>
                      <a:lnTo>
                        <a:pt x="1708" y="651"/>
                      </a:lnTo>
                      <a:lnTo>
                        <a:pt x="1701" y="648"/>
                      </a:lnTo>
                      <a:lnTo>
                        <a:pt x="1701" y="651"/>
                      </a:lnTo>
                      <a:lnTo>
                        <a:pt x="1698" y="651"/>
                      </a:lnTo>
                      <a:lnTo>
                        <a:pt x="1694" y="641"/>
                      </a:lnTo>
                      <a:lnTo>
                        <a:pt x="1691" y="651"/>
                      </a:lnTo>
                      <a:lnTo>
                        <a:pt x="1694" y="653"/>
                      </a:lnTo>
                      <a:lnTo>
                        <a:pt x="1705" y="655"/>
                      </a:lnTo>
                      <a:lnTo>
                        <a:pt x="1705" y="658"/>
                      </a:lnTo>
                      <a:lnTo>
                        <a:pt x="1701" y="660"/>
                      </a:lnTo>
                      <a:lnTo>
                        <a:pt x="1696" y="663"/>
                      </a:lnTo>
                      <a:lnTo>
                        <a:pt x="1694" y="663"/>
                      </a:lnTo>
                      <a:lnTo>
                        <a:pt x="1694" y="658"/>
                      </a:lnTo>
                      <a:lnTo>
                        <a:pt x="1684" y="658"/>
                      </a:lnTo>
                      <a:lnTo>
                        <a:pt x="1672" y="667"/>
                      </a:lnTo>
                      <a:lnTo>
                        <a:pt x="1663" y="679"/>
                      </a:lnTo>
                      <a:lnTo>
                        <a:pt x="1658" y="693"/>
                      </a:lnTo>
                      <a:lnTo>
                        <a:pt x="1660" y="696"/>
                      </a:lnTo>
                      <a:lnTo>
                        <a:pt x="1660" y="696"/>
                      </a:lnTo>
                      <a:lnTo>
                        <a:pt x="1658" y="698"/>
                      </a:lnTo>
                      <a:lnTo>
                        <a:pt x="1658" y="703"/>
                      </a:lnTo>
                      <a:lnTo>
                        <a:pt x="1660" y="708"/>
                      </a:lnTo>
                      <a:lnTo>
                        <a:pt x="1663" y="710"/>
                      </a:lnTo>
                      <a:lnTo>
                        <a:pt x="1660" y="715"/>
                      </a:lnTo>
                      <a:lnTo>
                        <a:pt x="1660" y="717"/>
                      </a:lnTo>
                      <a:lnTo>
                        <a:pt x="1663" y="719"/>
                      </a:lnTo>
                      <a:lnTo>
                        <a:pt x="1660" y="724"/>
                      </a:lnTo>
                      <a:lnTo>
                        <a:pt x="1660" y="726"/>
                      </a:lnTo>
                      <a:lnTo>
                        <a:pt x="1656" y="726"/>
                      </a:lnTo>
                      <a:lnTo>
                        <a:pt x="1656" y="729"/>
                      </a:lnTo>
                      <a:lnTo>
                        <a:pt x="1658" y="734"/>
                      </a:lnTo>
                      <a:lnTo>
                        <a:pt x="1656" y="741"/>
                      </a:lnTo>
                      <a:lnTo>
                        <a:pt x="1656" y="745"/>
                      </a:lnTo>
                      <a:lnTo>
                        <a:pt x="1653" y="748"/>
                      </a:lnTo>
                      <a:lnTo>
                        <a:pt x="1649" y="750"/>
                      </a:lnTo>
                      <a:lnTo>
                        <a:pt x="1644" y="748"/>
                      </a:lnTo>
                      <a:lnTo>
                        <a:pt x="1639" y="748"/>
                      </a:lnTo>
                      <a:lnTo>
                        <a:pt x="1637" y="748"/>
                      </a:lnTo>
                      <a:lnTo>
                        <a:pt x="1637" y="757"/>
                      </a:lnTo>
                      <a:lnTo>
                        <a:pt x="1642" y="762"/>
                      </a:lnTo>
                      <a:lnTo>
                        <a:pt x="1646" y="769"/>
                      </a:lnTo>
                      <a:lnTo>
                        <a:pt x="1649" y="771"/>
                      </a:lnTo>
                      <a:lnTo>
                        <a:pt x="1651" y="769"/>
                      </a:lnTo>
                      <a:lnTo>
                        <a:pt x="1653" y="762"/>
                      </a:lnTo>
                      <a:lnTo>
                        <a:pt x="1653" y="757"/>
                      </a:lnTo>
                      <a:lnTo>
                        <a:pt x="1651" y="752"/>
                      </a:lnTo>
                      <a:lnTo>
                        <a:pt x="1658" y="755"/>
                      </a:lnTo>
                      <a:lnTo>
                        <a:pt x="1660" y="757"/>
                      </a:lnTo>
                      <a:lnTo>
                        <a:pt x="1660" y="764"/>
                      </a:lnTo>
                      <a:lnTo>
                        <a:pt x="1663" y="771"/>
                      </a:lnTo>
                      <a:lnTo>
                        <a:pt x="1660" y="774"/>
                      </a:lnTo>
                      <a:lnTo>
                        <a:pt x="1658" y="776"/>
                      </a:lnTo>
                      <a:lnTo>
                        <a:pt x="1660" y="778"/>
                      </a:lnTo>
                      <a:lnTo>
                        <a:pt x="1663" y="781"/>
                      </a:lnTo>
                      <a:lnTo>
                        <a:pt x="1663" y="786"/>
                      </a:lnTo>
                      <a:lnTo>
                        <a:pt x="1668" y="790"/>
                      </a:lnTo>
                      <a:lnTo>
                        <a:pt x="1672" y="793"/>
                      </a:lnTo>
                      <a:lnTo>
                        <a:pt x="1679" y="793"/>
                      </a:lnTo>
                      <a:lnTo>
                        <a:pt x="1677" y="790"/>
                      </a:lnTo>
                      <a:lnTo>
                        <a:pt x="1677" y="790"/>
                      </a:lnTo>
                      <a:lnTo>
                        <a:pt x="1675" y="790"/>
                      </a:lnTo>
                      <a:lnTo>
                        <a:pt x="1679" y="786"/>
                      </a:lnTo>
                      <a:lnTo>
                        <a:pt x="1684" y="778"/>
                      </a:lnTo>
                      <a:lnTo>
                        <a:pt x="1689" y="776"/>
                      </a:lnTo>
                      <a:lnTo>
                        <a:pt x="1686" y="783"/>
                      </a:lnTo>
                      <a:lnTo>
                        <a:pt x="1689" y="790"/>
                      </a:lnTo>
                      <a:lnTo>
                        <a:pt x="1694" y="795"/>
                      </a:lnTo>
                      <a:lnTo>
                        <a:pt x="1696" y="800"/>
                      </a:lnTo>
                      <a:lnTo>
                        <a:pt x="1698" y="814"/>
                      </a:lnTo>
                      <a:lnTo>
                        <a:pt x="1703" y="831"/>
                      </a:lnTo>
                      <a:lnTo>
                        <a:pt x="1701" y="831"/>
                      </a:lnTo>
                      <a:lnTo>
                        <a:pt x="1696" y="828"/>
                      </a:lnTo>
                      <a:lnTo>
                        <a:pt x="1696" y="826"/>
                      </a:lnTo>
                      <a:lnTo>
                        <a:pt x="1696" y="821"/>
                      </a:lnTo>
                      <a:lnTo>
                        <a:pt x="1696" y="819"/>
                      </a:lnTo>
                      <a:lnTo>
                        <a:pt x="1694" y="831"/>
                      </a:lnTo>
                      <a:lnTo>
                        <a:pt x="1694" y="838"/>
                      </a:lnTo>
                      <a:lnTo>
                        <a:pt x="1698" y="840"/>
                      </a:lnTo>
                      <a:lnTo>
                        <a:pt x="1703" y="840"/>
                      </a:lnTo>
                      <a:lnTo>
                        <a:pt x="1703" y="838"/>
                      </a:lnTo>
                      <a:lnTo>
                        <a:pt x="1703" y="838"/>
                      </a:lnTo>
                      <a:lnTo>
                        <a:pt x="1701" y="833"/>
                      </a:lnTo>
                      <a:lnTo>
                        <a:pt x="1708" y="838"/>
                      </a:lnTo>
                      <a:lnTo>
                        <a:pt x="1713" y="845"/>
                      </a:lnTo>
                      <a:lnTo>
                        <a:pt x="1717" y="849"/>
                      </a:lnTo>
                      <a:lnTo>
                        <a:pt x="1722" y="854"/>
                      </a:lnTo>
                      <a:lnTo>
                        <a:pt x="1722" y="857"/>
                      </a:lnTo>
                      <a:lnTo>
                        <a:pt x="1720" y="859"/>
                      </a:lnTo>
                      <a:lnTo>
                        <a:pt x="1717" y="859"/>
                      </a:lnTo>
                      <a:lnTo>
                        <a:pt x="1717" y="859"/>
                      </a:lnTo>
                      <a:lnTo>
                        <a:pt x="1715" y="861"/>
                      </a:lnTo>
                      <a:lnTo>
                        <a:pt x="1720" y="866"/>
                      </a:lnTo>
                      <a:lnTo>
                        <a:pt x="1724" y="859"/>
                      </a:lnTo>
                      <a:lnTo>
                        <a:pt x="1724" y="854"/>
                      </a:lnTo>
                      <a:lnTo>
                        <a:pt x="1722" y="849"/>
                      </a:lnTo>
                      <a:lnTo>
                        <a:pt x="1717" y="842"/>
                      </a:lnTo>
                      <a:lnTo>
                        <a:pt x="1722" y="847"/>
                      </a:lnTo>
                      <a:lnTo>
                        <a:pt x="1727" y="849"/>
                      </a:lnTo>
                      <a:lnTo>
                        <a:pt x="1731" y="852"/>
                      </a:lnTo>
                      <a:lnTo>
                        <a:pt x="1731" y="857"/>
                      </a:lnTo>
                      <a:lnTo>
                        <a:pt x="1736" y="861"/>
                      </a:lnTo>
                      <a:lnTo>
                        <a:pt x="1739" y="861"/>
                      </a:lnTo>
                      <a:lnTo>
                        <a:pt x="1743" y="864"/>
                      </a:lnTo>
                      <a:lnTo>
                        <a:pt x="1750" y="871"/>
                      </a:lnTo>
                      <a:lnTo>
                        <a:pt x="1757" y="875"/>
                      </a:lnTo>
                      <a:lnTo>
                        <a:pt x="1760" y="873"/>
                      </a:lnTo>
                      <a:lnTo>
                        <a:pt x="1760" y="873"/>
                      </a:lnTo>
                      <a:lnTo>
                        <a:pt x="1757" y="873"/>
                      </a:lnTo>
                      <a:lnTo>
                        <a:pt x="1757" y="873"/>
                      </a:lnTo>
                      <a:lnTo>
                        <a:pt x="1757" y="868"/>
                      </a:lnTo>
                      <a:lnTo>
                        <a:pt x="1762" y="868"/>
                      </a:lnTo>
                      <a:lnTo>
                        <a:pt x="1765" y="871"/>
                      </a:lnTo>
                      <a:lnTo>
                        <a:pt x="1769" y="873"/>
                      </a:lnTo>
                      <a:lnTo>
                        <a:pt x="1772" y="875"/>
                      </a:lnTo>
                      <a:lnTo>
                        <a:pt x="1772" y="880"/>
                      </a:lnTo>
                      <a:lnTo>
                        <a:pt x="1769" y="885"/>
                      </a:lnTo>
                      <a:lnTo>
                        <a:pt x="1772" y="887"/>
                      </a:lnTo>
                      <a:lnTo>
                        <a:pt x="1769" y="892"/>
                      </a:lnTo>
                      <a:lnTo>
                        <a:pt x="1769" y="894"/>
                      </a:lnTo>
                      <a:lnTo>
                        <a:pt x="1769" y="897"/>
                      </a:lnTo>
                      <a:lnTo>
                        <a:pt x="1767" y="897"/>
                      </a:lnTo>
                      <a:lnTo>
                        <a:pt x="1765" y="899"/>
                      </a:lnTo>
                      <a:lnTo>
                        <a:pt x="1765" y="904"/>
                      </a:lnTo>
                      <a:lnTo>
                        <a:pt x="1767" y="918"/>
                      </a:lnTo>
                      <a:lnTo>
                        <a:pt x="1765" y="923"/>
                      </a:lnTo>
                      <a:lnTo>
                        <a:pt x="1762" y="932"/>
                      </a:lnTo>
                      <a:lnTo>
                        <a:pt x="1755" y="944"/>
                      </a:lnTo>
                      <a:lnTo>
                        <a:pt x="1755" y="942"/>
                      </a:lnTo>
                      <a:lnTo>
                        <a:pt x="1753" y="937"/>
                      </a:lnTo>
                      <a:lnTo>
                        <a:pt x="1750" y="932"/>
                      </a:lnTo>
                      <a:lnTo>
                        <a:pt x="1748" y="930"/>
                      </a:lnTo>
                      <a:lnTo>
                        <a:pt x="1750" y="920"/>
                      </a:lnTo>
                      <a:lnTo>
                        <a:pt x="1750" y="913"/>
                      </a:lnTo>
                      <a:lnTo>
                        <a:pt x="1748" y="909"/>
                      </a:lnTo>
                      <a:lnTo>
                        <a:pt x="1746" y="909"/>
                      </a:lnTo>
                      <a:lnTo>
                        <a:pt x="1741" y="911"/>
                      </a:lnTo>
                      <a:lnTo>
                        <a:pt x="1739" y="916"/>
                      </a:lnTo>
                      <a:lnTo>
                        <a:pt x="1739" y="918"/>
                      </a:lnTo>
                      <a:lnTo>
                        <a:pt x="1736" y="925"/>
                      </a:lnTo>
                      <a:lnTo>
                        <a:pt x="1736" y="930"/>
                      </a:lnTo>
                      <a:lnTo>
                        <a:pt x="1746" y="932"/>
                      </a:lnTo>
                      <a:lnTo>
                        <a:pt x="1746" y="935"/>
                      </a:lnTo>
                      <a:lnTo>
                        <a:pt x="1743" y="939"/>
                      </a:lnTo>
                      <a:lnTo>
                        <a:pt x="1741" y="939"/>
                      </a:lnTo>
                      <a:lnTo>
                        <a:pt x="1741" y="944"/>
                      </a:lnTo>
                      <a:lnTo>
                        <a:pt x="1743" y="944"/>
                      </a:lnTo>
                      <a:lnTo>
                        <a:pt x="1746" y="944"/>
                      </a:lnTo>
                      <a:lnTo>
                        <a:pt x="1748" y="944"/>
                      </a:lnTo>
                      <a:lnTo>
                        <a:pt x="1748" y="951"/>
                      </a:lnTo>
                      <a:lnTo>
                        <a:pt x="1743" y="956"/>
                      </a:lnTo>
                      <a:lnTo>
                        <a:pt x="1736" y="958"/>
                      </a:lnTo>
                      <a:lnTo>
                        <a:pt x="1731" y="954"/>
                      </a:lnTo>
                      <a:lnTo>
                        <a:pt x="1727" y="951"/>
                      </a:lnTo>
                      <a:lnTo>
                        <a:pt x="1717" y="944"/>
                      </a:lnTo>
                      <a:lnTo>
                        <a:pt x="1713" y="939"/>
                      </a:lnTo>
                      <a:lnTo>
                        <a:pt x="1708" y="942"/>
                      </a:lnTo>
                      <a:lnTo>
                        <a:pt x="1703" y="949"/>
                      </a:lnTo>
                      <a:lnTo>
                        <a:pt x="1703" y="951"/>
                      </a:lnTo>
                      <a:lnTo>
                        <a:pt x="1705" y="951"/>
                      </a:lnTo>
                      <a:lnTo>
                        <a:pt x="1703" y="982"/>
                      </a:lnTo>
                      <a:lnTo>
                        <a:pt x="1703" y="999"/>
                      </a:lnTo>
                      <a:lnTo>
                        <a:pt x="1708" y="1017"/>
                      </a:lnTo>
                      <a:lnTo>
                        <a:pt x="1715" y="1029"/>
                      </a:lnTo>
                      <a:lnTo>
                        <a:pt x="1717" y="1036"/>
                      </a:lnTo>
                      <a:lnTo>
                        <a:pt x="1720" y="1039"/>
                      </a:lnTo>
                      <a:lnTo>
                        <a:pt x="1722" y="1043"/>
                      </a:lnTo>
                      <a:lnTo>
                        <a:pt x="1724" y="1072"/>
                      </a:lnTo>
                      <a:lnTo>
                        <a:pt x="1729" y="1091"/>
                      </a:lnTo>
                      <a:lnTo>
                        <a:pt x="1743" y="1133"/>
                      </a:lnTo>
                      <a:lnTo>
                        <a:pt x="1748" y="1143"/>
                      </a:lnTo>
                      <a:lnTo>
                        <a:pt x="1748" y="1145"/>
                      </a:lnTo>
                      <a:lnTo>
                        <a:pt x="1750" y="1148"/>
                      </a:lnTo>
                      <a:lnTo>
                        <a:pt x="1755" y="1155"/>
                      </a:lnTo>
                      <a:lnTo>
                        <a:pt x="1757" y="1155"/>
                      </a:lnTo>
                      <a:lnTo>
                        <a:pt x="1757" y="1164"/>
                      </a:lnTo>
                      <a:lnTo>
                        <a:pt x="1762" y="1174"/>
                      </a:lnTo>
                      <a:lnTo>
                        <a:pt x="1769" y="1188"/>
                      </a:lnTo>
                      <a:lnTo>
                        <a:pt x="1776" y="1200"/>
                      </a:lnTo>
                      <a:lnTo>
                        <a:pt x="1788" y="1209"/>
                      </a:lnTo>
                      <a:lnTo>
                        <a:pt x="1802" y="1219"/>
                      </a:lnTo>
                      <a:lnTo>
                        <a:pt x="1810" y="1230"/>
                      </a:lnTo>
                      <a:lnTo>
                        <a:pt x="1821" y="1237"/>
                      </a:lnTo>
                      <a:lnTo>
                        <a:pt x="1833" y="1245"/>
                      </a:lnTo>
                      <a:lnTo>
                        <a:pt x="1843" y="1247"/>
                      </a:lnTo>
                      <a:lnTo>
                        <a:pt x="1862" y="1268"/>
                      </a:lnTo>
                      <a:lnTo>
                        <a:pt x="1873" y="1275"/>
                      </a:lnTo>
                      <a:lnTo>
                        <a:pt x="1883" y="1282"/>
                      </a:lnTo>
                      <a:lnTo>
                        <a:pt x="1890" y="1285"/>
                      </a:lnTo>
                      <a:lnTo>
                        <a:pt x="1904" y="1287"/>
                      </a:lnTo>
                      <a:lnTo>
                        <a:pt x="1918" y="1287"/>
                      </a:lnTo>
                      <a:lnTo>
                        <a:pt x="1925" y="1290"/>
                      </a:lnTo>
                      <a:lnTo>
                        <a:pt x="1937" y="1297"/>
                      </a:lnTo>
                      <a:lnTo>
                        <a:pt x="1959" y="1301"/>
                      </a:lnTo>
                      <a:lnTo>
                        <a:pt x="1963" y="1306"/>
                      </a:lnTo>
                      <a:lnTo>
                        <a:pt x="1966" y="1308"/>
                      </a:lnTo>
                      <a:lnTo>
                        <a:pt x="2070" y="1377"/>
                      </a:lnTo>
                      <a:lnTo>
                        <a:pt x="2110" y="1391"/>
                      </a:lnTo>
                      <a:lnTo>
                        <a:pt x="2115" y="1394"/>
                      </a:lnTo>
                      <a:lnTo>
                        <a:pt x="2119" y="1396"/>
                      </a:lnTo>
                      <a:lnTo>
                        <a:pt x="2134" y="1401"/>
                      </a:lnTo>
                      <a:lnTo>
                        <a:pt x="2143" y="1403"/>
                      </a:lnTo>
                      <a:lnTo>
                        <a:pt x="2145" y="1401"/>
                      </a:lnTo>
                      <a:lnTo>
                        <a:pt x="2148" y="1398"/>
                      </a:lnTo>
                      <a:lnTo>
                        <a:pt x="2148" y="1396"/>
                      </a:lnTo>
                      <a:lnTo>
                        <a:pt x="2150" y="1396"/>
                      </a:lnTo>
                      <a:lnTo>
                        <a:pt x="2150" y="1394"/>
                      </a:lnTo>
                      <a:lnTo>
                        <a:pt x="2150" y="1394"/>
                      </a:lnTo>
                      <a:lnTo>
                        <a:pt x="2153" y="1391"/>
                      </a:lnTo>
                      <a:lnTo>
                        <a:pt x="2155" y="1394"/>
                      </a:lnTo>
                      <a:lnTo>
                        <a:pt x="2155" y="1394"/>
                      </a:lnTo>
                      <a:lnTo>
                        <a:pt x="2157" y="1396"/>
                      </a:lnTo>
                      <a:lnTo>
                        <a:pt x="2157" y="1396"/>
                      </a:lnTo>
                      <a:lnTo>
                        <a:pt x="2164" y="1398"/>
                      </a:lnTo>
                      <a:lnTo>
                        <a:pt x="2169" y="1405"/>
                      </a:lnTo>
                      <a:lnTo>
                        <a:pt x="2174" y="1413"/>
                      </a:lnTo>
                      <a:lnTo>
                        <a:pt x="2176" y="1415"/>
                      </a:lnTo>
                      <a:lnTo>
                        <a:pt x="2183" y="1415"/>
                      </a:lnTo>
                      <a:lnTo>
                        <a:pt x="2190" y="1417"/>
                      </a:lnTo>
                      <a:lnTo>
                        <a:pt x="2193" y="1422"/>
                      </a:lnTo>
                      <a:lnTo>
                        <a:pt x="2193" y="1429"/>
                      </a:lnTo>
                      <a:lnTo>
                        <a:pt x="2254" y="1536"/>
                      </a:lnTo>
                      <a:lnTo>
                        <a:pt x="2259" y="1543"/>
                      </a:lnTo>
                      <a:lnTo>
                        <a:pt x="2261" y="1545"/>
                      </a:lnTo>
                      <a:lnTo>
                        <a:pt x="2266" y="1559"/>
                      </a:lnTo>
                      <a:lnTo>
                        <a:pt x="2269" y="1564"/>
                      </a:lnTo>
                      <a:lnTo>
                        <a:pt x="2273" y="1569"/>
                      </a:lnTo>
                      <a:lnTo>
                        <a:pt x="2285" y="1588"/>
                      </a:lnTo>
                      <a:lnTo>
                        <a:pt x="2292" y="1602"/>
                      </a:lnTo>
                      <a:lnTo>
                        <a:pt x="2304" y="1637"/>
                      </a:lnTo>
                      <a:lnTo>
                        <a:pt x="2342" y="1722"/>
                      </a:lnTo>
                      <a:lnTo>
                        <a:pt x="2358" y="1749"/>
                      </a:lnTo>
                      <a:lnTo>
                        <a:pt x="2366" y="1760"/>
                      </a:lnTo>
                      <a:lnTo>
                        <a:pt x="2389" y="1789"/>
                      </a:lnTo>
                      <a:lnTo>
                        <a:pt x="2394" y="1793"/>
                      </a:lnTo>
                      <a:lnTo>
                        <a:pt x="2396" y="1798"/>
                      </a:lnTo>
                      <a:lnTo>
                        <a:pt x="2448" y="1846"/>
                      </a:lnTo>
                      <a:lnTo>
                        <a:pt x="2472" y="1860"/>
                      </a:lnTo>
                      <a:lnTo>
                        <a:pt x="2496" y="1869"/>
                      </a:lnTo>
                      <a:lnTo>
                        <a:pt x="2507" y="1876"/>
                      </a:lnTo>
                      <a:lnTo>
                        <a:pt x="2524" y="1895"/>
                      </a:lnTo>
                      <a:lnTo>
                        <a:pt x="2571" y="1928"/>
                      </a:lnTo>
                      <a:lnTo>
                        <a:pt x="2583" y="1933"/>
                      </a:lnTo>
                      <a:lnTo>
                        <a:pt x="2602" y="1938"/>
                      </a:lnTo>
                      <a:lnTo>
                        <a:pt x="2614" y="1938"/>
                      </a:lnTo>
                      <a:lnTo>
                        <a:pt x="2619" y="1940"/>
                      </a:lnTo>
                      <a:lnTo>
                        <a:pt x="2623" y="1947"/>
                      </a:lnTo>
                      <a:lnTo>
                        <a:pt x="2628" y="1964"/>
                      </a:lnTo>
                      <a:lnTo>
                        <a:pt x="2630" y="1971"/>
                      </a:lnTo>
                      <a:lnTo>
                        <a:pt x="2635" y="1978"/>
                      </a:lnTo>
                      <a:lnTo>
                        <a:pt x="2642" y="1978"/>
                      </a:lnTo>
                      <a:lnTo>
                        <a:pt x="2649" y="1978"/>
                      </a:lnTo>
                      <a:lnTo>
                        <a:pt x="2657" y="1983"/>
                      </a:lnTo>
                      <a:lnTo>
                        <a:pt x="2668" y="1990"/>
                      </a:lnTo>
                      <a:lnTo>
                        <a:pt x="2680" y="1992"/>
                      </a:lnTo>
                      <a:lnTo>
                        <a:pt x="2706" y="1992"/>
                      </a:lnTo>
                      <a:lnTo>
                        <a:pt x="2718" y="1995"/>
                      </a:lnTo>
                      <a:lnTo>
                        <a:pt x="2725" y="1997"/>
                      </a:lnTo>
                      <a:lnTo>
                        <a:pt x="2735" y="2006"/>
                      </a:lnTo>
                      <a:lnTo>
                        <a:pt x="2737" y="2009"/>
                      </a:lnTo>
                      <a:lnTo>
                        <a:pt x="2744" y="2009"/>
                      </a:lnTo>
                      <a:lnTo>
                        <a:pt x="2758" y="2016"/>
                      </a:lnTo>
                      <a:lnTo>
                        <a:pt x="2765" y="2018"/>
                      </a:lnTo>
                      <a:lnTo>
                        <a:pt x="2777" y="2018"/>
                      </a:lnTo>
                      <a:lnTo>
                        <a:pt x="2813" y="2011"/>
                      </a:lnTo>
                      <a:lnTo>
                        <a:pt x="2851" y="2014"/>
                      </a:lnTo>
                      <a:lnTo>
                        <a:pt x="2865" y="2011"/>
                      </a:lnTo>
                      <a:lnTo>
                        <a:pt x="2914" y="1992"/>
                      </a:lnTo>
                      <a:lnTo>
                        <a:pt x="2964" y="1985"/>
                      </a:lnTo>
                      <a:lnTo>
                        <a:pt x="3040" y="1959"/>
                      </a:lnTo>
                      <a:lnTo>
                        <a:pt x="3068" y="1961"/>
                      </a:lnTo>
                      <a:lnTo>
                        <a:pt x="3068" y="1961"/>
                      </a:lnTo>
                      <a:lnTo>
                        <a:pt x="3078" y="1964"/>
                      </a:lnTo>
                      <a:lnTo>
                        <a:pt x="3085" y="1973"/>
                      </a:lnTo>
                      <a:lnTo>
                        <a:pt x="3092" y="1971"/>
                      </a:lnTo>
                      <a:lnTo>
                        <a:pt x="3092" y="1978"/>
                      </a:lnTo>
                      <a:lnTo>
                        <a:pt x="3094" y="1985"/>
                      </a:lnTo>
                      <a:lnTo>
                        <a:pt x="3101" y="2002"/>
                      </a:lnTo>
                      <a:lnTo>
                        <a:pt x="3101" y="2006"/>
                      </a:lnTo>
                      <a:lnTo>
                        <a:pt x="3104" y="2014"/>
                      </a:lnTo>
                      <a:lnTo>
                        <a:pt x="3101" y="2018"/>
                      </a:lnTo>
                      <a:lnTo>
                        <a:pt x="3097" y="2028"/>
                      </a:lnTo>
                      <a:lnTo>
                        <a:pt x="3092" y="2035"/>
                      </a:lnTo>
                      <a:lnTo>
                        <a:pt x="3087" y="2037"/>
                      </a:lnTo>
                      <a:lnTo>
                        <a:pt x="3080" y="2042"/>
                      </a:lnTo>
                      <a:lnTo>
                        <a:pt x="3078" y="2047"/>
                      </a:lnTo>
                      <a:lnTo>
                        <a:pt x="3071" y="2058"/>
                      </a:lnTo>
                      <a:lnTo>
                        <a:pt x="3061" y="2070"/>
                      </a:lnTo>
                      <a:lnTo>
                        <a:pt x="3033" y="2094"/>
                      </a:lnTo>
                      <a:lnTo>
                        <a:pt x="3028" y="2106"/>
                      </a:lnTo>
                      <a:lnTo>
                        <a:pt x="3028" y="2122"/>
                      </a:lnTo>
                      <a:lnTo>
                        <a:pt x="3033" y="2139"/>
                      </a:lnTo>
                      <a:lnTo>
                        <a:pt x="3040" y="2151"/>
                      </a:lnTo>
                      <a:lnTo>
                        <a:pt x="3049" y="2160"/>
                      </a:lnTo>
                      <a:lnTo>
                        <a:pt x="3059" y="2167"/>
                      </a:lnTo>
                      <a:lnTo>
                        <a:pt x="3080" y="2177"/>
                      </a:lnTo>
                      <a:lnTo>
                        <a:pt x="3099" y="2179"/>
                      </a:lnTo>
                      <a:lnTo>
                        <a:pt x="3106" y="2181"/>
                      </a:lnTo>
                      <a:lnTo>
                        <a:pt x="3111" y="2186"/>
                      </a:lnTo>
                      <a:lnTo>
                        <a:pt x="3172" y="2200"/>
                      </a:lnTo>
                      <a:lnTo>
                        <a:pt x="3227" y="2217"/>
                      </a:lnTo>
                      <a:lnTo>
                        <a:pt x="3248" y="2219"/>
                      </a:lnTo>
                      <a:lnTo>
                        <a:pt x="3253" y="2222"/>
                      </a:lnTo>
                      <a:lnTo>
                        <a:pt x="3260" y="2226"/>
                      </a:lnTo>
                      <a:lnTo>
                        <a:pt x="3274" y="2231"/>
                      </a:lnTo>
                      <a:lnTo>
                        <a:pt x="3350" y="2243"/>
                      </a:lnTo>
                      <a:lnTo>
                        <a:pt x="3359" y="2245"/>
                      </a:lnTo>
                      <a:lnTo>
                        <a:pt x="3359" y="2245"/>
                      </a:lnTo>
                      <a:lnTo>
                        <a:pt x="3359" y="2243"/>
                      </a:lnTo>
                      <a:lnTo>
                        <a:pt x="3362" y="2243"/>
                      </a:lnTo>
                      <a:lnTo>
                        <a:pt x="3369" y="2248"/>
                      </a:lnTo>
                      <a:lnTo>
                        <a:pt x="3425" y="2255"/>
                      </a:lnTo>
                      <a:lnTo>
                        <a:pt x="3475" y="2269"/>
                      </a:lnTo>
                      <a:lnTo>
                        <a:pt x="3501" y="2281"/>
                      </a:lnTo>
                      <a:lnTo>
                        <a:pt x="3515" y="2290"/>
                      </a:lnTo>
                      <a:lnTo>
                        <a:pt x="3530" y="2305"/>
                      </a:lnTo>
                      <a:lnTo>
                        <a:pt x="3534" y="2307"/>
                      </a:lnTo>
                      <a:lnTo>
                        <a:pt x="3539" y="2307"/>
                      </a:lnTo>
                      <a:lnTo>
                        <a:pt x="3553" y="2314"/>
                      </a:lnTo>
                      <a:lnTo>
                        <a:pt x="3577" y="2331"/>
                      </a:lnTo>
                      <a:lnTo>
                        <a:pt x="3582" y="2333"/>
                      </a:lnTo>
                      <a:lnTo>
                        <a:pt x="3589" y="2333"/>
                      </a:lnTo>
                      <a:lnTo>
                        <a:pt x="3601" y="2338"/>
                      </a:lnTo>
                      <a:lnTo>
                        <a:pt x="3629" y="2338"/>
                      </a:lnTo>
                      <a:lnTo>
                        <a:pt x="3631" y="2340"/>
                      </a:lnTo>
                      <a:lnTo>
                        <a:pt x="3667" y="2347"/>
                      </a:lnTo>
                      <a:lnTo>
                        <a:pt x="3700" y="2361"/>
                      </a:lnTo>
                      <a:lnTo>
                        <a:pt x="3726" y="2361"/>
                      </a:lnTo>
                      <a:lnTo>
                        <a:pt x="3738" y="2364"/>
                      </a:lnTo>
                      <a:lnTo>
                        <a:pt x="3740" y="2373"/>
                      </a:lnTo>
                      <a:lnTo>
                        <a:pt x="3742" y="2373"/>
                      </a:lnTo>
                      <a:lnTo>
                        <a:pt x="3750" y="2368"/>
                      </a:lnTo>
                      <a:lnTo>
                        <a:pt x="3754" y="2368"/>
                      </a:lnTo>
                      <a:lnTo>
                        <a:pt x="3757" y="2371"/>
                      </a:lnTo>
                      <a:lnTo>
                        <a:pt x="3757" y="2375"/>
                      </a:lnTo>
                      <a:lnTo>
                        <a:pt x="3759" y="2378"/>
                      </a:lnTo>
                      <a:lnTo>
                        <a:pt x="3768" y="2385"/>
                      </a:lnTo>
                      <a:lnTo>
                        <a:pt x="3771" y="2387"/>
                      </a:lnTo>
                      <a:lnTo>
                        <a:pt x="3773" y="2406"/>
                      </a:lnTo>
                      <a:lnTo>
                        <a:pt x="3802" y="2420"/>
                      </a:lnTo>
                      <a:lnTo>
                        <a:pt x="3835" y="2432"/>
                      </a:lnTo>
                      <a:lnTo>
                        <a:pt x="3839" y="2432"/>
                      </a:lnTo>
                      <a:lnTo>
                        <a:pt x="3842" y="2432"/>
                      </a:lnTo>
                      <a:lnTo>
                        <a:pt x="3851" y="2442"/>
                      </a:lnTo>
                      <a:lnTo>
                        <a:pt x="3856" y="2444"/>
                      </a:lnTo>
                      <a:lnTo>
                        <a:pt x="3868" y="2451"/>
                      </a:lnTo>
                      <a:lnTo>
                        <a:pt x="3880" y="2463"/>
                      </a:lnTo>
                      <a:lnTo>
                        <a:pt x="3884" y="2468"/>
                      </a:lnTo>
                      <a:lnTo>
                        <a:pt x="3892" y="2470"/>
                      </a:lnTo>
                      <a:lnTo>
                        <a:pt x="3894" y="2472"/>
                      </a:lnTo>
                      <a:lnTo>
                        <a:pt x="3920" y="2496"/>
                      </a:lnTo>
                      <a:lnTo>
                        <a:pt x="3951" y="2541"/>
                      </a:lnTo>
                      <a:lnTo>
                        <a:pt x="3953" y="2543"/>
                      </a:lnTo>
                      <a:lnTo>
                        <a:pt x="3953" y="2543"/>
                      </a:lnTo>
                      <a:lnTo>
                        <a:pt x="3955" y="2543"/>
                      </a:lnTo>
                      <a:lnTo>
                        <a:pt x="3955" y="2551"/>
                      </a:lnTo>
                      <a:lnTo>
                        <a:pt x="3958" y="2553"/>
                      </a:lnTo>
                      <a:lnTo>
                        <a:pt x="3960" y="2555"/>
                      </a:lnTo>
                      <a:lnTo>
                        <a:pt x="3960" y="2560"/>
                      </a:lnTo>
                      <a:lnTo>
                        <a:pt x="3958" y="2565"/>
                      </a:lnTo>
                      <a:lnTo>
                        <a:pt x="3953" y="2570"/>
                      </a:lnTo>
                      <a:lnTo>
                        <a:pt x="3953" y="2581"/>
                      </a:lnTo>
                      <a:lnTo>
                        <a:pt x="3951" y="2588"/>
                      </a:lnTo>
                      <a:lnTo>
                        <a:pt x="3941" y="2598"/>
                      </a:lnTo>
                      <a:lnTo>
                        <a:pt x="3939" y="2619"/>
                      </a:lnTo>
                      <a:lnTo>
                        <a:pt x="3939" y="2624"/>
                      </a:lnTo>
                      <a:lnTo>
                        <a:pt x="3939" y="2633"/>
                      </a:lnTo>
                      <a:lnTo>
                        <a:pt x="3936" y="2643"/>
                      </a:lnTo>
                      <a:lnTo>
                        <a:pt x="3936" y="2645"/>
                      </a:lnTo>
                      <a:lnTo>
                        <a:pt x="3941" y="2657"/>
                      </a:lnTo>
                      <a:lnTo>
                        <a:pt x="3944" y="2662"/>
                      </a:lnTo>
                      <a:lnTo>
                        <a:pt x="3944" y="2685"/>
                      </a:lnTo>
                      <a:lnTo>
                        <a:pt x="3946" y="2688"/>
                      </a:lnTo>
                      <a:lnTo>
                        <a:pt x="3944" y="2690"/>
                      </a:lnTo>
                      <a:lnTo>
                        <a:pt x="3941" y="2695"/>
                      </a:lnTo>
                      <a:lnTo>
                        <a:pt x="3941" y="2697"/>
                      </a:lnTo>
                      <a:lnTo>
                        <a:pt x="3934" y="2700"/>
                      </a:lnTo>
                      <a:lnTo>
                        <a:pt x="3932" y="2700"/>
                      </a:lnTo>
                      <a:lnTo>
                        <a:pt x="3927" y="2697"/>
                      </a:lnTo>
                      <a:lnTo>
                        <a:pt x="3910" y="2688"/>
                      </a:lnTo>
                      <a:lnTo>
                        <a:pt x="3906" y="2688"/>
                      </a:lnTo>
                      <a:lnTo>
                        <a:pt x="3892" y="2690"/>
                      </a:lnTo>
                      <a:lnTo>
                        <a:pt x="3887" y="2693"/>
                      </a:lnTo>
                      <a:lnTo>
                        <a:pt x="3880" y="2688"/>
                      </a:lnTo>
                      <a:lnTo>
                        <a:pt x="3870" y="2685"/>
                      </a:lnTo>
                      <a:lnTo>
                        <a:pt x="3858" y="2678"/>
                      </a:lnTo>
                      <a:lnTo>
                        <a:pt x="3847" y="2674"/>
                      </a:lnTo>
                      <a:lnTo>
                        <a:pt x="3842" y="2674"/>
                      </a:lnTo>
                      <a:lnTo>
                        <a:pt x="3837" y="2671"/>
                      </a:lnTo>
                      <a:lnTo>
                        <a:pt x="3811" y="2645"/>
                      </a:lnTo>
                      <a:lnTo>
                        <a:pt x="3806" y="2643"/>
                      </a:lnTo>
                      <a:lnTo>
                        <a:pt x="3806" y="2638"/>
                      </a:lnTo>
                      <a:lnTo>
                        <a:pt x="3811" y="2638"/>
                      </a:lnTo>
                      <a:lnTo>
                        <a:pt x="3813" y="2633"/>
                      </a:lnTo>
                      <a:lnTo>
                        <a:pt x="3813" y="2629"/>
                      </a:lnTo>
                      <a:lnTo>
                        <a:pt x="3811" y="2624"/>
                      </a:lnTo>
                      <a:lnTo>
                        <a:pt x="3806" y="2622"/>
                      </a:lnTo>
                      <a:lnTo>
                        <a:pt x="3797" y="2619"/>
                      </a:lnTo>
                      <a:lnTo>
                        <a:pt x="3792" y="2619"/>
                      </a:lnTo>
                      <a:lnTo>
                        <a:pt x="3802" y="2610"/>
                      </a:lnTo>
                      <a:lnTo>
                        <a:pt x="3804" y="2598"/>
                      </a:lnTo>
                      <a:lnTo>
                        <a:pt x="3797" y="2591"/>
                      </a:lnTo>
                      <a:lnTo>
                        <a:pt x="3785" y="2581"/>
                      </a:lnTo>
                      <a:lnTo>
                        <a:pt x="3776" y="2577"/>
                      </a:lnTo>
                      <a:lnTo>
                        <a:pt x="3771" y="2572"/>
                      </a:lnTo>
                      <a:lnTo>
                        <a:pt x="3766" y="2567"/>
                      </a:lnTo>
                      <a:lnTo>
                        <a:pt x="3766" y="2558"/>
                      </a:lnTo>
                      <a:lnTo>
                        <a:pt x="3764" y="2551"/>
                      </a:lnTo>
                      <a:lnTo>
                        <a:pt x="3759" y="2546"/>
                      </a:lnTo>
                      <a:lnTo>
                        <a:pt x="3757" y="2543"/>
                      </a:lnTo>
                      <a:lnTo>
                        <a:pt x="3759" y="2543"/>
                      </a:lnTo>
                      <a:lnTo>
                        <a:pt x="3759" y="2539"/>
                      </a:lnTo>
                      <a:lnTo>
                        <a:pt x="3742" y="2532"/>
                      </a:lnTo>
                      <a:lnTo>
                        <a:pt x="3735" y="2529"/>
                      </a:lnTo>
                      <a:lnTo>
                        <a:pt x="3631" y="2548"/>
                      </a:lnTo>
                      <a:lnTo>
                        <a:pt x="3624" y="2548"/>
                      </a:lnTo>
                      <a:lnTo>
                        <a:pt x="3605" y="2541"/>
                      </a:lnTo>
                      <a:lnTo>
                        <a:pt x="3603" y="2541"/>
                      </a:lnTo>
                      <a:lnTo>
                        <a:pt x="3596" y="2543"/>
                      </a:lnTo>
                      <a:lnTo>
                        <a:pt x="3593" y="2543"/>
                      </a:lnTo>
                      <a:lnTo>
                        <a:pt x="3591" y="2543"/>
                      </a:lnTo>
                      <a:lnTo>
                        <a:pt x="3584" y="2539"/>
                      </a:lnTo>
                      <a:lnTo>
                        <a:pt x="3582" y="2539"/>
                      </a:lnTo>
                      <a:lnTo>
                        <a:pt x="3577" y="2536"/>
                      </a:lnTo>
                      <a:lnTo>
                        <a:pt x="3558" y="2532"/>
                      </a:lnTo>
                      <a:lnTo>
                        <a:pt x="3539" y="2529"/>
                      </a:lnTo>
                      <a:lnTo>
                        <a:pt x="3530" y="2525"/>
                      </a:lnTo>
                      <a:lnTo>
                        <a:pt x="3525" y="2520"/>
                      </a:lnTo>
                      <a:lnTo>
                        <a:pt x="3532" y="2515"/>
                      </a:lnTo>
                      <a:lnTo>
                        <a:pt x="3537" y="2508"/>
                      </a:lnTo>
                      <a:lnTo>
                        <a:pt x="3537" y="2501"/>
                      </a:lnTo>
                      <a:lnTo>
                        <a:pt x="3530" y="2496"/>
                      </a:lnTo>
                      <a:lnTo>
                        <a:pt x="3534" y="2491"/>
                      </a:lnTo>
                      <a:lnTo>
                        <a:pt x="3551" y="2491"/>
                      </a:lnTo>
                      <a:lnTo>
                        <a:pt x="3556" y="2487"/>
                      </a:lnTo>
                      <a:lnTo>
                        <a:pt x="3556" y="2480"/>
                      </a:lnTo>
                      <a:lnTo>
                        <a:pt x="3551" y="2480"/>
                      </a:lnTo>
                      <a:lnTo>
                        <a:pt x="3539" y="2487"/>
                      </a:lnTo>
                      <a:lnTo>
                        <a:pt x="3539" y="2487"/>
                      </a:lnTo>
                      <a:lnTo>
                        <a:pt x="3539" y="2484"/>
                      </a:lnTo>
                      <a:lnTo>
                        <a:pt x="3532" y="2482"/>
                      </a:lnTo>
                      <a:lnTo>
                        <a:pt x="3527" y="2487"/>
                      </a:lnTo>
                      <a:lnTo>
                        <a:pt x="3522" y="2491"/>
                      </a:lnTo>
                      <a:lnTo>
                        <a:pt x="3515" y="2496"/>
                      </a:lnTo>
                      <a:lnTo>
                        <a:pt x="3513" y="2494"/>
                      </a:lnTo>
                      <a:lnTo>
                        <a:pt x="3511" y="2491"/>
                      </a:lnTo>
                      <a:lnTo>
                        <a:pt x="3508" y="2489"/>
                      </a:lnTo>
                      <a:lnTo>
                        <a:pt x="3506" y="2487"/>
                      </a:lnTo>
                      <a:lnTo>
                        <a:pt x="3504" y="2484"/>
                      </a:lnTo>
                      <a:lnTo>
                        <a:pt x="3496" y="2487"/>
                      </a:lnTo>
                      <a:lnTo>
                        <a:pt x="3494" y="2487"/>
                      </a:lnTo>
                      <a:lnTo>
                        <a:pt x="3470" y="2489"/>
                      </a:lnTo>
                      <a:lnTo>
                        <a:pt x="3449" y="2506"/>
                      </a:lnTo>
                      <a:lnTo>
                        <a:pt x="3433" y="2529"/>
                      </a:lnTo>
                      <a:lnTo>
                        <a:pt x="3404" y="2598"/>
                      </a:lnTo>
                      <a:lnTo>
                        <a:pt x="3399" y="2612"/>
                      </a:lnTo>
                      <a:lnTo>
                        <a:pt x="3397" y="2638"/>
                      </a:lnTo>
                      <a:lnTo>
                        <a:pt x="3395" y="2643"/>
                      </a:lnTo>
                      <a:lnTo>
                        <a:pt x="3392" y="2648"/>
                      </a:lnTo>
                      <a:lnTo>
                        <a:pt x="3385" y="2669"/>
                      </a:lnTo>
                      <a:lnTo>
                        <a:pt x="3371" y="2690"/>
                      </a:lnTo>
                      <a:lnTo>
                        <a:pt x="3366" y="2700"/>
                      </a:lnTo>
                      <a:lnTo>
                        <a:pt x="3366" y="2716"/>
                      </a:lnTo>
                      <a:lnTo>
                        <a:pt x="3369" y="2721"/>
                      </a:lnTo>
                      <a:lnTo>
                        <a:pt x="3376" y="2737"/>
                      </a:lnTo>
                      <a:lnTo>
                        <a:pt x="3383" y="2749"/>
                      </a:lnTo>
                      <a:lnTo>
                        <a:pt x="3380" y="2754"/>
                      </a:lnTo>
                      <a:lnTo>
                        <a:pt x="3376" y="2759"/>
                      </a:lnTo>
                      <a:lnTo>
                        <a:pt x="3373" y="2771"/>
                      </a:lnTo>
                      <a:lnTo>
                        <a:pt x="3362" y="2787"/>
                      </a:lnTo>
                      <a:lnTo>
                        <a:pt x="3354" y="2811"/>
                      </a:lnTo>
                      <a:lnTo>
                        <a:pt x="3352" y="2825"/>
                      </a:lnTo>
                      <a:lnTo>
                        <a:pt x="3354" y="2837"/>
                      </a:lnTo>
                      <a:lnTo>
                        <a:pt x="3359" y="2849"/>
                      </a:lnTo>
                      <a:lnTo>
                        <a:pt x="3371" y="2858"/>
                      </a:lnTo>
                      <a:lnTo>
                        <a:pt x="3371" y="2861"/>
                      </a:lnTo>
                      <a:lnTo>
                        <a:pt x="3369" y="2872"/>
                      </a:lnTo>
                      <a:lnTo>
                        <a:pt x="3380" y="2882"/>
                      </a:lnTo>
                      <a:lnTo>
                        <a:pt x="3397" y="2889"/>
                      </a:lnTo>
                      <a:lnTo>
                        <a:pt x="3409" y="2891"/>
                      </a:lnTo>
                      <a:lnTo>
                        <a:pt x="3447" y="2884"/>
                      </a:lnTo>
                      <a:lnTo>
                        <a:pt x="3459" y="2887"/>
                      </a:lnTo>
                      <a:lnTo>
                        <a:pt x="3463" y="2889"/>
                      </a:lnTo>
                      <a:lnTo>
                        <a:pt x="3470" y="2891"/>
                      </a:lnTo>
                      <a:lnTo>
                        <a:pt x="3477" y="2898"/>
                      </a:lnTo>
                      <a:lnTo>
                        <a:pt x="3480" y="2903"/>
                      </a:lnTo>
                      <a:lnTo>
                        <a:pt x="3482" y="2905"/>
                      </a:lnTo>
                      <a:lnTo>
                        <a:pt x="3504" y="2913"/>
                      </a:lnTo>
                      <a:lnTo>
                        <a:pt x="3520" y="2922"/>
                      </a:lnTo>
                      <a:lnTo>
                        <a:pt x="3527" y="2922"/>
                      </a:lnTo>
                      <a:lnTo>
                        <a:pt x="3534" y="2922"/>
                      </a:lnTo>
                      <a:lnTo>
                        <a:pt x="3541" y="2922"/>
                      </a:lnTo>
                      <a:lnTo>
                        <a:pt x="3546" y="2927"/>
                      </a:lnTo>
                      <a:lnTo>
                        <a:pt x="3551" y="2931"/>
                      </a:lnTo>
                      <a:lnTo>
                        <a:pt x="3558" y="2939"/>
                      </a:lnTo>
                      <a:lnTo>
                        <a:pt x="3570" y="2943"/>
                      </a:lnTo>
                      <a:lnTo>
                        <a:pt x="3582" y="2948"/>
                      </a:lnTo>
                      <a:lnTo>
                        <a:pt x="3593" y="2946"/>
                      </a:lnTo>
                      <a:lnTo>
                        <a:pt x="3586" y="2976"/>
                      </a:lnTo>
                      <a:lnTo>
                        <a:pt x="3589" y="3000"/>
                      </a:lnTo>
                      <a:lnTo>
                        <a:pt x="3591" y="3007"/>
                      </a:lnTo>
                      <a:lnTo>
                        <a:pt x="3593" y="3012"/>
                      </a:lnTo>
                      <a:lnTo>
                        <a:pt x="3596" y="3017"/>
                      </a:lnTo>
                      <a:lnTo>
                        <a:pt x="3603" y="3024"/>
                      </a:lnTo>
                      <a:lnTo>
                        <a:pt x="3605" y="3028"/>
                      </a:lnTo>
                      <a:lnTo>
                        <a:pt x="3605" y="3043"/>
                      </a:lnTo>
                      <a:lnTo>
                        <a:pt x="3605" y="3066"/>
                      </a:lnTo>
                      <a:lnTo>
                        <a:pt x="3608" y="3081"/>
                      </a:lnTo>
                      <a:lnTo>
                        <a:pt x="3617" y="3092"/>
                      </a:lnTo>
                      <a:lnTo>
                        <a:pt x="3619" y="3097"/>
                      </a:lnTo>
                      <a:lnTo>
                        <a:pt x="3622" y="3099"/>
                      </a:lnTo>
                      <a:lnTo>
                        <a:pt x="3634" y="3099"/>
                      </a:lnTo>
                      <a:lnTo>
                        <a:pt x="3638" y="3099"/>
                      </a:lnTo>
                      <a:lnTo>
                        <a:pt x="3634" y="3107"/>
                      </a:lnTo>
                      <a:lnTo>
                        <a:pt x="3631" y="3109"/>
                      </a:lnTo>
                      <a:lnTo>
                        <a:pt x="3629" y="3111"/>
                      </a:lnTo>
                      <a:lnTo>
                        <a:pt x="3634" y="3128"/>
                      </a:lnTo>
                      <a:lnTo>
                        <a:pt x="3634" y="3130"/>
                      </a:lnTo>
                      <a:lnTo>
                        <a:pt x="3624" y="3142"/>
                      </a:lnTo>
                      <a:lnTo>
                        <a:pt x="3624" y="3144"/>
                      </a:lnTo>
                      <a:lnTo>
                        <a:pt x="3622" y="3147"/>
                      </a:lnTo>
                      <a:lnTo>
                        <a:pt x="3619" y="3152"/>
                      </a:lnTo>
                      <a:lnTo>
                        <a:pt x="3617" y="3161"/>
                      </a:lnTo>
                      <a:lnTo>
                        <a:pt x="3612" y="3154"/>
                      </a:lnTo>
                      <a:lnTo>
                        <a:pt x="3603" y="3154"/>
                      </a:lnTo>
                      <a:lnTo>
                        <a:pt x="3596" y="3159"/>
                      </a:lnTo>
                      <a:lnTo>
                        <a:pt x="3591" y="3163"/>
                      </a:lnTo>
                      <a:lnTo>
                        <a:pt x="3579" y="3156"/>
                      </a:lnTo>
                      <a:lnTo>
                        <a:pt x="3574" y="3154"/>
                      </a:lnTo>
                      <a:lnTo>
                        <a:pt x="3567" y="3154"/>
                      </a:lnTo>
                      <a:lnTo>
                        <a:pt x="3560" y="3156"/>
                      </a:lnTo>
                      <a:lnTo>
                        <a:pt x="3530" y="3170"/>
                      </a:lnTo>
                      <a:lnTo>
                        <a:pt x="3499" y="3194"/>
                      </a:lnTo>
                      <a:lnTo>
                        <a:pt x="3487" y="3208"/>
                      </a:lnTo>
                      <a:lnTo>
                        <a:pt x="3485" y="3211"/>
                      </a:lnTo>
                      <a:lnTo>
                        <a:pt x="3482" y="3215"/>
                      </a:lnTo>
                      <a:lnTo>
                        <a:pt x="3466" y="3230"/>
                      </a:lnTo>
                      <a:lnTo>
                        <a:pt x="3459" y="3239"/>
                      </a:lnTo>
                      <a:lnTo>
                        <a:pt x="3456" y="3244"/>
                      </a:lnTo>
                      <a:lnTo>
                        <a:pt x="3456" y="3258"/>
                      </a:lnTo>
                      <a:lnTo>
                        <a:pt x="3451" y="3265"/>
                      </a:lnTo>
                      <a:lnTo>
                        <a:pt x="3449" y="3272"/>
                      </a:lnTo>
                      <a:lnTo>
                        <a:pt x="3451" y="3284"/>
                      </a:lnTo>
                      <a:lnTo>
                        <a:pt x="3454" y="3284"/>
                      </a:lnTo>
                      <a:lnTo>
                        <a:pt x="3456" y="3286"/>
                      </a:lnTo>
                      <a:lnTo>
                        <a:pt x="3456" y="3293"/>
                      </a:lnTo>
                      <a:lnTo>
                        <a:pt x="3466" y="3324"/>
                      </a:lnTo>
                      <a:lnTo>
                        <a:pt x="3477" y="3353"/>
                      </a:lnTo>
                      <a:lnTo>
                        <a:pt x="3480" y="3362"/>
                      </a:lnTo>
                      <a:lnTo>
                        <a:pt x="3482" y="3393"/>
                      </a:lnTo>
                      <a:lnTo>
                        <a:pt x="3480" y="3400"/>
                      </a:lnTo>
                      <a:lnTo>
                        <a:pt x="3470" y="3414"/>
                      </a:lnTo>
                      <a:lnTo>
                        <a:pt x="3466" y="3421"/>
                      </a:lnTo>
                      <a:lnTo>
                        <a:pt x="3463" y="3424"/>
                      </a:lnTo>
                      <a:lnTo>
                        <a:pt x="3456" y="3433"/>
                      </a:lnTo>
                      <a:lnTo>
                        <a:pt x="3447" y="3440"/>
                      </a:lnTo>
                      <a:lnTo>
                        <a:pt x="3418" y="3461"/>
                      </a:lnTo>
                      <a:lnTo>
                        <a:pt x="3409" y="3473"/>
                      </a:lnTo>
                      <a:lnTo>
                        <a:pt x="3376" y="3540"/>
                      </a:lnTo>
                      <a:lnTo>
                        <a:pt x="3371" y="3554"/>
                      </a:lnTo>
                      <a:lnTo>
                        <a:pt x="3371" y="3599"/>
                      </a:lnTo>
                      <a:lnTo>
                        <a:pt x="3369" y="3613"/>
                      </a:lnTo>
                      <a:lnTo>
                        <a:pt x="3366" y="3620"/>
                      </a:lnTo>
                      <a:lnTo>
                        <a:pt x="3364" y="3625"/>
                      </a:lnTo>
                      <a:lnTo>
                        <a:pt x="3359" y="3629"/>
                      </a:lnTo>
                      <a:lnTo>
                        <a:pt x="3357" y="3634"/>
                      </a:lnTo>
                      <a:lnTo>
                        <a:pt x="3340" y="3641"/>
                      </a:lnTo>
                      <a:lnTo>
                        <a:pt x="3336" y="3644"/>
                      </a:lnTo>
                      <a:lnTo>
                        <a:pt x="3317" y="3641"/>
                      </a:lnTo>
                      <a:lnTo>
                        <a:pt x="3257" y="3658"/>
                      </a:lnTo>
                      <a:lnTo>
                        <a:pt x="3250" y="3655"/>
                      </a:lnTo>
                      <a:lnTo>
                        <a:pt x="3241" y="3653"/>
                      </a:lnTo>
                      <a:lnTo>
                        <a:pt x="3231" y="3651"/>
                      </a:lnTo>
                      <a:lnTo>
                        <a:pt x="3224" y="3646"/>
                      </a:lnTo>
                      <a:lnTo>
                        <a:pt x="3217" y="3639"/>
                      </a:lnTo>
                      <a:lnTo>
                        <a:pt x="3213" y="3629"/>
                      </a:lnTo>
                      <a:lnTo>
                        <a:pt x="3213" y="3622"/>
                      </a:lnTo>
                      <a:lnTo>
                        <a:pt x="3217" y="3615"/>
                      </a:lnTo>
                      <a:lnTo>
                        <a:pt x="3205" y="3603"/>
                      </a:lnTo>
                      <a:lnTo>
                        <a:pt x="3203" y="3596"/>
                      </a:lnTo>
                      <a:lnTo>
                        <a:pt x="3203" y="3589"/>
                      </a:lnTo>
                      <a:lnTo>
                        <a:pt x="3205" y="3580"/>
                      </a:lnTo>
                      <a:lnTo>
                        <a:pt x="3205" y="3573"/>
                      </a:lnTo>
                      <a:lnTo>
                        <a:pt x="3205" y="3566"/>
                      </a:lnTo>
                      <a:lnTo>
                        <a:pt x="3201" y="3556"/>
                      </a:lnTo>
                      <a:lnTo>
                        <a:pt x="3196" y="3542"/>
                      </a:lnTo>
                      <a:lnTo>
                        <a:pt x="3201" y="3532"/>
                      </a:lnTo>
                      <a:lnTo>
                        <a:pt x="3210" y="3525"/>
                      </a:lnTo>
                      <a:lnTo>
                        <a:pt x="3241" y="3509"/>
                      </a:lnTo>
                      <a:lnTo>
                        <a:pt x="3243" y="3504"/>
                      </a:lnTo>
                      <a:lnTo>
                        <a:pt x="3243" y="3502"/>
                      </a:lnTo>
                      <a:lnTo>
                        <a:pt x="3248" y="3497"/>
                      </a:lnTo>
                      <a:lnTo>
                        <a:pt x="3248" y="3495"/>
                      </a:lnTo>
                      <a:lnTo>
                        <a:pt x="3250" y="3476"/>
                      </a:lnTo>
                      <a:lnTo>
                        <a:pt x="3265" y="3419"/>
                      </a:lnTo>
                      <a:lnTo>
                        <a:pt x="3267" y="3400"/>
                      </a:lnTo>
                      <a:lnTo>
                        <a:pt x="3262" y="3386"/>
                      </a:lnTo>
                      <a:lnTo>
                        <a:pt x="3255" y="3376"/>
                      </a:lnTo>
                      <a:lnTo>
                        <a:pt x="3246" y="3367"/>
                      </a:lnTo>
                      <a:lnTo>
                        <a:pt x="3243" y="3364"/>
                      </a:lnTo>
                      <a:lnTo>
                        <a:pt x="3239" y="3364"/>
                      </a:lnTo>
                      <a:lnTo>
                        <a:pt x="3236" y="3362"/>
                      </a:lnTo>
                      <a:lnTo>
                        <a:pt x="3231" y="3360"/>
                      </a:lnTo>
                      <a:lnTo>
                        <a:pt x="3231" y="3357"/>
                      </a:lnTo>
                      <a:lnTo>
                        <a:pt x="3231" y="3355"/>
                      </a:lnTo>
                      <a:lnTo>
                        <a:pt x="3231" y="3350"/>
                      </a:lnTo>
                      <a:lnTo>
                        <a:pt x="3231" y="3346"/>
                      </a:lnTo>
                      <a:lnTo>
                        <a:pt x="3239" y="3341"/>
                      </a:lnTo>
                      <a:lnTo>
                        <a:pt x="3250" y="3334"/>
                      </a:lnTo>
                      <a:lnTo>
                        <a:pt x="3269" y="3315"/>
                      </a:lnTo>
                      <a:lnTo>
                        <a:pt x="3279" y="3308"/>
                      </a:lnTo>
                      <a:lnTo>
                        <a:pt x="3293" y="3303"/>
                      </a:lnTo>
                      <a:lnTo>
                        <a:pt x="3317" y="3301"/>
                      </a:lnTo>
                      <a:lnTo>
                        <a:pt x="3321" y="3298"/>
                      </a:lnTo>
                      <a:lnTo>
                        <a:pt x="3326" y="3296"/>
                      </a:lnTo>
                      <a:lnTo>
                        <a:pt x="3333" y="3286"/>
                      </a:lnTo>
                      <a:lnTo>
                        <a:pt x="3338" y="3272"/>
                      </a:lnTo>
                      <a:lnTo>
                        <a:pt x="3340" y="3256"/>
                      </a:lnTo>
                      <a:lnTo>
                        <a:pt x="3338" y="3239"/>
                      </a:lnTo>
                      <a:lnTo>
                        <a:pt x="3336" y="3220"/>
                      </a:lnTo>
                      <a:lnTo>
                        <a:pt x="3331" y="3213"/>
                      </a:lnTo>
                      <a:lnTo>
                        <a:pt x="3328" y="3206"/>
                      </a:lnTo>
                      <a:lnTo>
                        <a:pt x="3321" y="3204"/>
                      </a:lnTo>
                      <a:lnTo>
                        <a:pt x="3314" y="3204"/>
                      </a:lnTo>
                      <a:lnTo>
                        <a:pt x="3310" y="3201"/>
                      </a:lnTo>
                      <a:lnTo>
                        <a:pt x="3305" y="3194"/>
                      </a:lnTo>
                      <a:lnTo>
                        <a:pt x="3279" y="3156"/>
                      </a:lnTo>
                      <a:lnTo>
                        <a:pt x="3248" y="3062"/>
                      </a:lnTo>
                      <a:lnTo>
                        <a:pt x="3241" y="3047"/>
                      </a:lnTo>
                      <a:lnTo>
                        <a:pt x="3205" y="2991"/>
                      </a:lnTo>
                      <a:lnTo>
                        <a:pt x="3198" y="2984"/>
                      </a:lnTo>
                      <a:lnTo>
                        <a:pt x="3186" y="2974"/>
                      </a:lnTo>
                      <a:lnTo>
                        <a:pt x="3177" y="2969"/>
                      </a:lnTo>
                      <a:lnTo>
                        <a:pt x="3172" y="2967"/>
                      </a:lnTo>
                      <a:lnTo>
                        <a:pt x="3170" y="2955"/>
                      </a:lnTo>
                      <a:lnTo>
                        <a:pt x="3163" y="2946"/>
                      </a:lnTo>
                      <a:lnTo>
                        <a:pt x="3156" y="2931"/>
                      </a:lnTo>
                      <a:lnTo>
                        <a:pt x="3149" y="2922"/>
                      </a:lnTo>
                      <a:lnTo>
                        <a:pt x="3144" y="2915"/>
                      </a:lnTo>
                      <a:lnTo>
                        <a:pt x="3132" y="2875"/>
                      </a:lnTo>
                      <a:lnTo>
                        <a:pt x="3132" y="2877"/>
                      </a:lnTo>
                      <a:lnTo>
                        <a:pt x="3127" y="2868"/>
                      </a:lnTo>
                      <a:lnTo>
                        <a:pt x="3125" y="2865"/>
                      </a:lnTo>
                      <a:lnTo>
                        <a:pt x="3123" y="2863"/>
                      </a:lnTo>
                      <a:lnTo>
                        <a:pt x="3123" y="2861"/>
                      </a:lnTo>
                      <a:lnTo>
                        <a:pt x="3123" y="2844"/>
                      </a:lnTo>
                      <a:lnTo>
                        <a:pt x="3120" y="2834"/>
                      </a:lnTo>
                      <a:lnTo>
                        <a:pt x="3106" y="2820"/>
                      </a:lnTo>
                      <a:lnTo>
                        <a:pt x="3104" y="2816"/>
                      </a:lnTo>
                      <a:lnTo>
                        <a:pt x="3099" y="2806"/>
                      </a:lnTo>
                      <a:lnTo>
                        <a:pt x="3094" y="2801"/>
                      </a:lnTo>
                      <a:lnTo>
                        <a:pt x="3080" y="2792"/>
                      </a:lnTo>
                      <a:lnTo>
                        <a:pt x="3068" y="2778"/>
                      </a:lnTo>
                      <a:lnTo>
                        <a:pt x="3061" y="2775"/>
                      </a:lnTo>
                      <a:lnTo>
                        <a:pt x="3059" y="2771"/>
                      </a:lnTo>
                      <a:lnTo>
                        <a:pt x="3059" y="2766"/>
                      </a:lnTo>
                      <a:lnTo>
                        <a:pt x="3054" y="2768"/>
                      </a:lnTo>
                      <a:lnTo>
                        <a:pt x="3030" y="2771"/>
                      </a:lnTo>
                      <a:lnTo>
                        <a:pt x="3023" y="2775"/>
                      </a:lnTo>
                      <a:lnTo>
                        <a:pt x="3018" y="2782"/>
                      </a:lnTo>
                      <a:lnTo>
                        <a:pt x="3009" y="2797"/>
                      </a:lnTo>
                      <a:lnTo>
                        <a:pt x="3000" y="2808"/>
                      </a:lnTo>
                      <a:lnTo>
                        <a:pt x="2995" y="2813"/>
                      </a:lnTo>
                      <a:lnTo>
                        <a:pt x="2985" y="2813"/>
                      </a:lnTo>
                      <a:lnTo>
                        <a:pt x="2978" y="2811"/>
                      </a:lnTo>
                      <a:lnTo>
                        <a:pt x="2964" y="2804"/>
                      </a:lnTo>
                      <a:lnTo>
                        <a:pt x="2959" y="2804"/>
                      </a:lnTo>
                      <a:lnTo>
                        <a:pt x="2957" y="2806"/>
                      </a:lnTo>
                      <a:lnTo>
                        <a:pt x="2955" y="2808"/>
                      </a:lnTo>
                      <a:lnTo>
                        <a:pt x="2950" y="2808"/>
                      </a:lnTo>
                      <a:lnTo>
                        <a:pt x="2948" y="2808"/>
                      </a:lnTo>
                      <a:lnTo>
                        <a:pt x="2948" y="2806"/>
                      </a:lnTo>
                      <a:lnTo>
                        <a:pt x="2952" y="2799"/>
                      </a:lnTo>
                      <a:lnTo>
                        <a:pt x="2945" y="2790"/>
                      </a:lnTo>
                      <a:lnTo>
                        <a:pt x="2933" y="2780"/>
                      </a:lnTo>
                      <a:lnTo>
                        <a:pt x="2926" y="2778"/>
                      </a:lnTo>
                      <a:lnTo>
                        <a:pt x="2919" y="2775"/>
                      </a:lnTo>
                      <a:lnTo>
                        <a:pt x="2895" y="2759"/>
                      </a:lnTo>
                      <a:lnTo>
                        <a:pt x="2891" y="2756"/>
                      </a:lnTo>
                      <a:lnTo>
                        <a:pt x="2884" y="2759"/>
                      </a:lnTo>
                      <a:lnTo>
                        <a:pt x="2877" y="2764"/>
                      </a:lnTo>
                      <a:lnTo>
                        <a:pt x="2869" y="2764"/>
                      </a:lnTo>
                      <a:lnTo>
                        <a:pt x="2865" y="2761"/>
                      </a:lnTo>
                      <a:lnTo>
                        <a:pt x="2858" y="2754"/>
                      </a:lnTo>
                      <a:lnTo>
                        <a:pt x="2843" y="2745"/>
                      </a:lnTo>
                      <a:lnTo>
                        <a:pt x="2841" y="2745"/>
                      </a:lnTo>
                      <a:lnTo>
                        <a:pt x="2836" y="2742"/>
                      </a:lnTo>
                      <a:lnTo>
                        <a:pt x="2824" y="2742"/>
                      </a:lnTo>
                      <a:lnTo>
                        <a:pt x="2822" y="2740"/>
                      </a:lnTo>
                      <a:lnTo>
                        <a:pt x="2820" y="2735"/>
                      </a:lnTo>
                      <a:lnTo>
                        <a:pt x="2824" y="2721"/>
                      </a:lnTo>
                      <a:lnTo>
                        <a:pt x="2827" y="2711"/>
                      </a:lnTo>
                      <a:lnTo>
                        <a:pt x="2822" y="2704"/>
                      </a:lnTo>
                      <a:lnTo>
                        <a:pt x="2822" y="2702"/>
                      </a:lnTo>
                      <a:lnTo>
                        <a:pt x="2824" y="2700"/>
                      </a:lnTo>
                      <a:lnTo>
                        <a:pt x="2829" y="2697"/>
                      </a:lnTo>
                      <a:lnTo>
                        <a:pt x="2832" y="2695"/>
                      </a:lnTo>
                      <a:lnTo>
                        <a:pt x="2834" y="2690"/>
                      </a:lnTo>
                      <a:lnTo>
                        <a:pt x="2834" y="2688"/>
                      </a:lnTo>
                      <a:lnTo>
                        <a:pt x="2836" y="2671"/>
                      </a:lnTo>
                      <a:lnTo>
                        <a:pt x="2829" y="2657"/>
                      </a:lnTo>
                      <a:lnTo>
                        <a:pt x="2791" y="2603"/>
                      </a:lnTo>
                      <a:lnTo>
                        <a:pt x="2780" y="2591"/>
                      </a:lnTo>
                      <a:lnTo>
                        <a:pt x="2770" y="2581"/>
                      </a:lnTo>
                      <a:lnTo>
                        <a:pt x="2761" y="2574"/>
                      </a:lnTo>
                      <a:lnTo>
                        <a:pt x="2751" y="2570"/>
                      </a:lnTo>
                      <a:lnTo>
                        <a:pt x="2742" y="2567"/>
                      </a:lnTo>
                      <a:lnTo>
                        <a:pt x="2732" y="2574"/>
                      </a:lnTo>
                      <a:lnTo>
                        <a:pt x="2723" y="2584"/>
                      </a:lnTo>
                      <a:lnTo>
                        <a:pt x="2720" y="2584"/>
                      </a:lnTo>
                      <a:lnTo>
                        <a:pt x="2704" y="2586"/>
                      </a:lnTo>
                      <a:lnTo>
                        <a:pt x="2699" y="2588"/>
                      </a:lnTo>
                      <a:lnTo>
                        <a:pt x="2687" y="2603"/>
                      </a:lnTo>
                      <a:lnTo>
                        <a:pt x="2680" y="2607"/>
                      </a:lnTo>
                      <a:lnTo>
                        <a:pt x="2671" y="2605"/>
                      </a:lnTo>
                      <a:lnTo>
                        <a:pt x="2661" y="2603"/>
                      </a:lnTo>
                      <a:lnTo>
                        <a:pt x="2657" y="2605"/>
                      </a:lnTo>
                      <a:lnTo>
                        <a:pt x="2642" y="2612"/>
                      </a:lnTo>
                      <a:lnTo>
                        <a:pt x="2635" y="2619"/>
                      </a:lnTo>
                      <a:lnTo>
                        <a:pt x="2623" y="2629"/>
                      </a:lnTo>
                      <a:lnTo>
                        <a:pt x="2619" y="2636"/>
                      </a:lnTo>
                      <a:lnTo>
                        <a:pt x="2614" y="2631"/>
                      </a:lnTo>
                      <a:lnTo>
                        <a:pt x="2614" y="2622"/>
                      </a:lnTo>
                      <a:lnTo>
                        <a:pt x="2614" y="2614"/>
                      </a:lnTo>
                      <a:lnTo>
                        <a:pt x="2621" y="2610"/>
                      </a:lnTo>
                      <a:lnTo>
                        <a:pt x="2628" y="2607"/>
                      </a:lnTo>
                      <a:lnTo>
                        <a:pt x="2628" y="2605"/>
                      </a:lnTo>
                      <a:lnTo>
                        <a:pt x="2630" y="2600"/>
                      </a:lnTo>
                      <a:lnTo>
                        <a:pt x="2633" y="2596"/>
                      </a:lnTo>
                      <a:lnTo>
                        <a:pt x="2652" y="2574"/>
                      </a:lnTo>
                      <a:lnTo>
                        <a:pt x="2654" y="2570"/>
                      </a:lnTo>
                      <a:lnTo>
                        <a:pt x="2649" y="2562"/>
                      </a:lnTo>
                      <a:lnTo>
                        <a:pt x="2645" y="2555"/>
                      </a:lnTo>
                      <a:lnTo>
                        <a:pt x="2638" y="2553"/>
                      </a:lnTo>
                      <a:lnTo>
                        <a:pt x="2633" y="2551"/>
                      </a:lnTo>
                      <a:lnTo>
                        <a:pt x="2628" y="2551"/>
                      </a:lnTo>
                      <a:lnTo>
                        <a:pt x="2623" y="2551"/>
                      </a:lnTo>
                      <a:lnTo>
                        <a:pt x="2621" y="2551"/>
                      </a:lnTo>
                      <a:lnTo>
                        <a:pt x="2619" y="2548"/>
                      </a:lnTo>
                      <a:lnTo>
                        <a:pt x="2614" y="2543"/>
                      </a:lnTo>
                      <a:lnTo>
                        <a:pt x="2612" y="2543"/>
                      </a:lnTo>
                      <a:lnTo>
                        <a:pt x="2607" y="2541"/>
                      </a:lnTo>
                      <a:lnTo>
                        <a:pt x="2593" y="2529"/>
                      </a:lnTo>
                      <a:lnTo>
                        <a:pt x="2586" y="2527"/>
                      </a:lnTo>
                      <a:lnTo>
                        <a:pt x="2581" y="2527"/>
                      </a:lnTo>
                      <a:lnTo>
                        <a:pt x="2571" y="2529"/>
                      </a:lnTo>
                      <a:lnTo>
                        <a:pt x="2564" y="2534"/>
                      </a:lnTo>
                      <a:lnTo>
                        <a:pt x="2562" y="2539"/>
                      </a:lnTo>
                      <a:lnTo>
                        <a:pt x="2560" y="2546"/>
                      </a:lnTo>
                      <a:lnTo>
                        <a:pt x="2552" y="2548"/>
                      </a:lnTo>
                      <a:lnTo>
                        <a:pt x="2529" y="2541"/>
                      </a:lnTo>
                      <a:lnTo>
                        <a:pt x="2524" y="2539"/>
                      </a:lnTo>
                      <a:lnTo>
                        <a:pt x="2519" y="2541"/>
                      </a:lnTo>
                      <a:lnTo>
                        <a:pt x="2519" y="2546"/>
                      </a:lnTo>
                      <a:lnTo>
                        <a:pt x="2519" y="2551"/>
                      </a:lnTo>
                      <a:lnTo>
                        <a:pt x="2522" y="2555"/>
                      </a:lnTo>
                      <a:lnTo>
                        <a:pt x="2524" y="2560"/>
                      </a:lnTo>
                      <a:lnTo>
                        <a:pt x="2522" y="2560"/>
                      </a:lnTo>
                      <a:lnTo>
                        <a:pt x="2510" y="2558"/>
                      </a:lnTo>
                      <a:lnTo>
                        <a:pt x="2510" y="2541"/>
                      </a:lnTo>
                      <a:lnTo>
                        <a:pt x="2505" y="2525"/>
                      </a:lnTo>
                      <a:lnTo>
                        <a:pt x="2472" y="2477"/>
                      </a:lnTo>
                      <a:lnTo>
                        <a:pt x="2460" y="2472"/>
                      </a:lnTo>
                      <a:lnTo>
                        <a:pt x="2455" y="2470"/>
                      </a:lnTo>
                      <a:lnTo>
                        <a:pt x="2453" y="2465"/>
                      </a:lnTo>
                      <a:lnTo>
                        <a:pt x="2453" y="2456"/>
                      </a:lnTo>
                      <a:lnTo>
                        <a:pt x="2451" y="2454"/>
                      </a:lnTo>
                      <a:lnTo>
                        <a:pt x="2439" y="2437"/>
                      </a:lnTo>
                      <a:lnTo>
                        <a:pt x="2401" y="2402"/>
                      </a:lnTo>
                      <a:lnTo>
                        <a:pt x="2380" y="2385"/>
                      </a:lnTo>
                      <a:lnTo>
                        <a:pt x="2375" y="2383"/>
                      </a:lnTo>
                      <a:lnTo>
                        <a:pt x="2366" y="2387"/>
                      </a:lnTo>
                      <a:lnTo>
                        <a:pt x="2361" y="2387"/>
                      </a:lnTo>
                      <a:lnTo>
                        <a:pt x="2358" y="2385"/>
                      </a:lnTo>
                      <a:lnTo>
                        <a:pt x="2339" y="2390"/>
                      </a:lnTo>
                      <a:lnTo>
                        <a:pt x="2330" y="2399"/>
                      </a:lnTo>
                      <a:lnTo>
                        <a:pt x="2337" y="2411"/>
                      </a:lnTo>
                      <a:lnTo>
                        <a:pt x="2328" y="2413"/>
                      </a:lnTo>
                      <a:lnTo>
                        <a:pt x="2323" y="2413"/>
                      </a:lnTo>
                      <a:lnTo>
                        <a:pt x="2321" y="2411"/>
                      </a:lnTo>
                      <a:lnTo>
                        <a:pt x="2318" y="2406"/>
                      </a:lnTo>
                      <a:lnTo>
                        <a:pt x="2316" y="2404"/>
                      </a:lnTo>
                      <a:lnTo>
                        <a:pt x="2313" y="2409"/>
                      </a:lnTo>
                      <a:lnTo>
                        <a:pt x="2311" y="2409"/>
                      </a:lnTo>
                      <a:lnTo>
                        <a:pt x="2304" y="2402"/>
                      </a:lnTo>
                      <a:lnTo>
                        <a:pt x="2252" y="2387"/>
                      </a:lnTo>
                      <a:lnTo>
                        <a:pt x="2240" y="2390"/>
                      </a:lnTo>
                      <a:lnTo>
                        <a:pt x="2216" y="2397"/>
                      </a:lnTo>
                      <a:lnTo>
                        <a:pt x="2209" y="2402"/>
                      </a:lnTo>
                      <a:lnTo>
                        <a:pt x="2200" y="2411"/>
                      </a:lnTo>
                      <a:lnTo>
                        <a:pt x="2190" y="2416"/>
                      </a:lnTo>
                      <a:lnTo>
                        <a:pt x="2183" y="2428"/>
                      </a:lnTo>
                      <a:lnTo>
                        <a:pt x="2176" y="2432"/>
                      </a:lnTo>
                      <a:lnTo>
                        <a:pt x="2169" y="2430"/>
                      </a:lnTo>
                      <a:lnTo>
                        <a:pt x="2167" y="2425"/>
                      </a:lnTo>
                      <a:lnTo>
                        <a:pt x="2164" y="2418"/>
                      </a:lnTo>
                      <a:lnTo>
                        <a:pt x="2160" y="2411"/>
                      </a:lnTo>
                      <a:lnTo>
                        <a:pt x="2155" y="2406"/>
                      </a:lnTo>
                      <a:lnTo>
                        <a:pt x="2148" y="2394"/>
                      </a:lnTo>
                      <a:lnTo>
                        <a:pt x="2143" y="2390"/>
                      </a:lnTo>
                      <a:lnTo>
                        <a:pt x="2122" y="2373"/>
                      </a:lnTo>
                      <a:lnTo>
                        <a:pt x="2110" y="2366"/>
                      </a:lnTo>
                      <a:lnTo>
                        <a:pt x="2101" y="2361"/>
                      </a:lnTo>
                      <a:lnTo>
                        <a:pt x="2093" y="2359"/>
                      </a:lnTo>
                      <a:lnTo>
                        <a:pt x="2070" y="2364"/>
                      </a:lnTo>
                      <a:lnTo>
                        <a:pt x="2065" y="2361"/>
                      </a:lnTo>
                      <a:lnTo>
                        <a:pt x="2039" y="2352"/>
                      </a:lnTo>
                      <a:lnTo>
                        <a:pt x="2032" y="2349"/>
                      </a:lnTo>
                      <a:lnTo>
                        <a:pt x="2030" y="2352"/>
                      </a:lnTo>
                      <a:lnTo>
                        <a:pt x="2027" y="2359"/>
                      </a:lnTo>
                      <a:lnTo>
                        <a:pt x="2022" y="2354"/>
                      </a:lnTo>
                      <a:lnTo>
                        <a:pt x="1994" y="2321"/>
                      </a:lnTo>
                      <a:lnTo>
                        <a:pt x="1959" y="2290"/>
                      </a:lnTo>
                      <a:lnTo>
                        <a:pt x="1921" y="2264"/>
                      </a:lnTo>
                      <a:lnTo>
                        <a:pt x="1916" y="2262"/>
                      </a:lnTo>
                      <a:lnTo>
                        <a:pt x="1907" y="2260"/>
                      </a:lnTo>
                      <a:lnTo>
                        <a:pt x="1902" y="2257"/>
                      </a:lnTo>
                      <a:lnTo>
                        <a:pt x="1897" y="2257"/>
                      </a:lnTo>
                      <a:lnTo>
                        <a:pt x="1888" y="2257"/>
                      </a:lnTo>
                      <a:lnTo>
                        <a:pt x="1885" y="2255"/>
                      </a:lnTo>
                      <a:lnTo>
                        <a:pt x="1880" y="2250"/>
                      </a:lnTo>
                      <a:lnTo>
                        <a:pt x="1876" y="2243"/>
                      </a:lnTo>
                      <a:lnTo>
                        <a:pt x="1873" y="2236"/>
                      </a:lnTo>
                      <a:lnTo>
                        <a:pt x="1873" y="2226"/>
                      </a:lnTo>
                      <a:lnTo>
                        <a:pt x="1871" y="2219"/>
                      </a:lnTo>
                      <a:lnTo>
                        <a:pt x="1866" y="2210"/>
                      </a:lnTo>
                      <a:lnTo>
                        <a:pt x="1857" y="2198"/>
                      </a:lnTo>
                      <a:lnTo>
                        <a:pt x="1847" y="2189"/>
                      </a:lnTo>
                      <a:lnTo>
                        <a:pt x="1814" y="2170"/>
                      </a:lnTo>
                      <a:lnTo>
                        <a:pt x="1810" y="2167"/>
                      </a:lnTo>
                      <a:lnTo>
                        <a:pt x="1807" y="2165"/>
                      </a:lnTo>
                      <a:lnTo>
                        <a:pt x="1805" y="2160"/>
                      </a:lnTo>
                      <a:lnTo>
                        <a:pt x="1802" y="2158"/>
                      </a:lnTo>
                      <a:lnTo>
                        <a:pt x="1793" y="2158"/>
                      </a:lnTo>
                      <a:lnTo>
                        <a:pt x="1791" y="2155"/>
                      </a:lnTo>
                      <a:lnTo>
                        <a:pt x="1786" y="2153"/>
                      </a:lnTo>
                      <a:lnTo>
                        <a:pt x="1779" y="2148"/>
                      </a:lnTo>
                      <a:lnTo>
                        <a:pt x="1774" y="2146"/>
                      </a:lnTo>
                      <a:lnTo>
                        <a:pt x="1767" y="2144"/>
                      </a:lnTo>
                      <a:lnTo>
                        <a:pt x="1743" y="2148"/>
                      </a:lnTo>
                      <a:lnTo>
                        <a:pt x="1741" y="2148"/>
                      </a:lnTo>
                      <a:lnTo>
                        <a:pt x="1739" y="2144"/>
                      </a:lnTo>
                      <a:lnTo>
                        <a:pt x="1734" y="2137"/>
                      </a:lnTo>
                      <a:lnTo>
                        <a:pt x="1727" y="2129"/>
                      </a:lnTo>
                      <a:lnTo>
                        <a:pt x="1722" y="2127"/>
                      </a:lnTo>
                      <a:lnTo>
                        <a:pt x="1720" y="2120"/>
                      </a:lnTo>
                      <a:lnTo>
                        <a:pt x="1710" y="2113"/>
                      </a:lnTo>
                      <a:lnTo>
                        <a:pt x="1708" y="2111"/>
                      </a:lnTo>
                      <a:lnTo>
                        <a:pt x="1708" y="2103"/>
                      </a:lnTo>
                      <a:lnTo>
                        <a:pt x="1703" y="2096"/>
                      </a:lnTo>
                      <a:lnTo>
                        <a:pt x="1682" y="2063"/>
                      </a:lnTo>
                      <a:lnTo>
                        <a:pt x="1672" y="2054"/>
                      </a:lnTo>
                      <a:lnTo>
                        <a:pt x="1632" y="2030"/>
                      </a:lnTo>
                      <a:lnTo>
                        <a:pt x="1616" y="2028"/>
                      </a:lnTo>
                      <a:lnTo>
                        <a:pt x="1594" y="2018"/>
                      </a:lnTo>
                      <a:lnTo>
                        <a:pt x="1585" y="2016"/>
                      </a:lnTo>
                      <a:lnTo>
                        <a:pt x="1585" y="2014"/>
                      </a:lnTo>
                      <a:lnTo>
                        <a:pt x="1582" y="2014"/>
                      </a:lnTo>
                      <a:lnTo>
                        <a:pt x="1580" y="2011"/>
                      </a:lnTo>
                      <a:lnTo>
                        <a:pt x="1575" y="2011"/>
                      </a:lnTo>
                      <a:lnTo>
                        <a:pt x="1573" y="2014"/>
                      </a:lnTo>
                      <a:lnTo>
                        <a:pt x="1575" y="2016"/>
                      </a:lnTo>
                      <a:lnTo>
                        <a:pt x="1566" y="2016"/>
                      </a:lnTo>
                      <a:lnTo>
                        <a:pt x="1542" y="2011"/>
                      </a:lnTo>
                      <a:lnTo>
                        <a:pt x="1537" y="2011"/>
                      </a:lnTo>
                      <a:lnTo>
                        <a:pt x="1533" y="2011"/>
                      </a:lnTo>
                      <a:lnTo>
                        <a:pt x="1528" y="2014"/>
                      </a:lnTo>
                      <a:lnTo>
                        <a:pt x="1526" y="2018"/>
                      </a:lnTo>
                      <a:lnTo>
                        <a:pt x="1526" y="2025"/>
                      </a:lnTo>
                      <a:lnTo>
                        <a:pt x="1521" y="2032"/>
                      </a:lnTo>
                      <a:lnTo>
                        <a:pt x="1521" y="2037"/>
                      </a:lnTo>
                      <a:lnTo>
                        <a:pt x="1519" y="2037"/>
                      </a:lnTo>
                      <a:lnTo>
                        <a:pt x="1516" y="2037"/>
                      </a:lnTo>
                      <a:lnTo>
                        <a:pt x="1514" y="2037"/>
                      </a:lnTo>
                      <a:lnTo>
                        <a:pt x="1514" y="2040"/>
                      </a:lnTo>
                      <a:lnTo>
                        <a:pt x="1509" y="2037"/>
                      </a:lnTo>
                      <a:lnTo>
                        <a:pt x="1504" y="2032"/>
                      </a:lnTo>
                      <a:lnTo>
                        <a:pt x="1497" y="2030"/>
                      </a:lnTo>
                      <a:lnTo>
                        <a:pt x="1492" y="2025"/>
                      </a:lnTo>
                      <a:lnTo>
                        <a:pt x="1488" y="2018"/>
                      </a:lnTo>
                      <a:lnTo>
                        <a:pt x="1485" y="2014"/>
                      </a:lnTo>
                      <a:lnTo>
                        <a:pt x="1490" y="2009"/>
                      </a:lnTo>
                      <a:lnTo>
                        <a:pt x="1497" y="2006"/>
                      </a:lnTo>
                      <a:lnTo>
                        <a:pt x="1511" y="2004"/>
                      </a:lnTo>
                      <a:lnTo>
                        <a:pt x="1514" y="1999"/>
                      </a:lnTo>
                      <a:lnTo>
                        <a:pt x="1516" y="1990"/>
                      </a:lnTo>
                      <a:lnTo>
                        <a:pt x="1516" y="1978"/>
                      </a:lnTo>
                      <a:lnTo>
                        <a:pt x="1514" y="1971"/>
                      </a:lnTo>
                      <a:lnTo>
                        <a:pt x="1507" y="1961"/>
                      </a:lnTo>
                      <a:lnTo>
                        <a:pt x="1502" y="1954"/>
                      </a:lnTo>
                      <a:lnTo>
                        <a:pt x="1500" y="1954"/>
                      </a:lnTo>
                      <a:lnTo>
                        <a:pt x="1497" y="1957"/>
                      </a:lnTo>
                      <a:lnTo>
                        <a:pt x="1495" y="1959"/>
                      </a:lnTo>
                      <a:lnTo>
                        <a:pt x="1490" y="1952"/>
                      </a:lnTo>
                      <a:lnTo>
                        <a:pt x="1485" y="1945"/>
                      </a:lnTo>
                      <a:lnTo>
                        <a:pt x="1481" y="1940"/>
                      </a:lnTo>
                      <a:lnTo>
                        <a:pt x="1476" y="1938"/>
                      </a:lnTo>
                      <a:lnTo>
                        <a:pt x="1474" y="1928"/>
                      </a:lnTo>
                      <a:lnTo>
                        <a:pt x="1466" y="1924"/>
                      </a:lnTo>
                      <a:lnTo>
                        <a:pt x="1450" y="1917"/>
                      </a:lnTo>
                      <a:lnTo>
                        <a:pt x="1448" y="1912"/>
                      </a:lnTo>
                      <a:lnTo>
                        <a:pt x="1445" y="1905"/>
                      </a:lnTo>
                      <a:lnTo>
                        <a:pt x="1443" y="1900"/>
                      </a:lnTo>
                      <a:lnTo>
                        <a:pt x="1440" y="1898"/>
                      </a:lnTo>
                      <a:lnTo>
                        <a:pt x="1436" y="1898"/>
                      </a:lnTo>
                      <a:lnTo>
                        <a:pt x="1426" y="1888"/>
                      </a:lnTo>
                      <a:lnTo>
                        <a:pt x="1410" y="1881"/>
                      </a:lnTo>
                      <a:lnTo>
                        <a:pt x="1358" y="1872"/>
                      </a:lnTo>
                      <a:lnTo>
                        <a:pt x="1365" y="1864"/>
                      </a:lnTo>
                      <a:lnTo>
                        <a:pt x="1367" y="1857"/>
                      </a:lnTo>
                      <a:lnTo>
                        <a:pt x="1365" y="1848"/>
                      </a:lnTo>
                      <a:lnTo>
                        <a:pt x="1365" y="1838"/>
                      </a:lnTo>
                      <a:lnTo>
                        <a:pt x="1365" y="1836"/>
                      </a:lnTo>
                      <a:lnTo>
                        <a:pt x="1367" y="1834"/>
                      </a:lnTo>
                      <a:lnTo>
                        <a:pt x="1367" y="1831"/>
                      </a:lnTo>
                      <a:lnTo>
                        <a:pt x="1365" y="1824"/>
                      </a:lnTo>
                      <a:lnTo>
                        <a:pt x="1362" y="1822"/>
                      </a:lnTo>
                      <a:lnTo>
                        <a:pt x="1358" y="1820"/>
                      </a:lnTo>
                      <a:lnTo>
                        <a:pt x="1334" y="1812"/>
                      </a:lnTo>
                      <a:lnTo>
                        <a:pt x="1320" y="1810"/>
                      </a:lnTo>
                      <a:lnTo>
                        <a:pt x="1303" y="1812"/>
                      </a:lnTo>
                      <a:lnTo>
                        <a:pt x="1291" y="1817"/>
                      </a:lnTo>
                      <a:lnTo>
                        <a:pt x="1294" y="1822"/>
                      </a:lnTo>
                      <a:lnTo>
                        <a:pt x="1294" y="1824"/>
                      </a:lnTo>
                      <a:lnTo>
                        <a:pt x="1287" y="1829"/>
                      </a:lnTo>
                      <a:lnTo>
                        <a:pt x="1280" y="1822"/>
                      </a:lnTo>
                      <a:lnTo>
                        <a:pt x="1270" y="1803"/>
                      </a:lnTo>
                      <a:lnTo>
                        <a:pt x="1277" y="1796"/>
                      </a:lnTo>
                      <a:lnTo>
                        <a:pt x="1280" y="1786"/>
                      </a:lnTo>
                      <a:lnTo>
                        <a:pt x="1284" y="1763"/>
                      </a:lnTo>
                      <a:lnTo>
                        <a:pt x="1282" y="1758"/>
                      </a:lnTo>
                      <a:lnTo>
                        <a:pt x="1282" y="1749"/>
                      </a:lnTo>
                      <a:lnTo>
                        <a:pt x="1282" y="1739"/>
                      </a:lnTo>
                      <a:lnTo>
                        <a:pt x="1282" y="1734"/>
                      </a:lnTo>
                      <a:lnTo>
                        <a:pt x="1280" y="1727"/>
                      </a:lnTo>
                      <a:lnTo>
                        <a:pt x="1277" y="1718"/>
                      </a:lnTo>
                      <a:lnTo>
                        <a:pt x="1275" y="1701"/>
                      </a:lnTo>
                      <a:lnTo>
                        <a:pt x="1272" y="1692"/>
                      </a:lnTo>
                      <a:lnTo>
                        <a:pt x="1268" y="1685"/>
                      </a:lnTo>
                      <a:lnTo>
                        <a:pt x="1237" y="1635"/>
                      </a:lnTo>
                      <a:lnTo>
                        <a:pt x="1213" y="1611"/>
                      </a:lnTo>
                      <a:lnTo>
                        <a:pt x="1209" y="1607"/>
                      </a:lnTo>
                      <a:lnTo>
                        <a:pt x="1197" y="1602"/>
                      </a:lnTo>
                      <a:lnTo>
                        <a:pt x="1194" y="1597"/>
                      </a:lnTo>
                      <a:lnTo>
                        <a:pt x="1183" y="1564"/>
                      </a:lnTo>
                      <a:lnTo>
                        <a:pt x="1161" y="1465"/>
                      </a:lnTo>
                      <a:lnTo>
                        <a:pt x="1157" y="1448"/>
                      </a:lnTo>
                      <a:lnTo>
                        <a:pt x="1140" y="1420"/>
                      </a:lnTo>
                      <a:lnTo>
                        <a:pt x="1128" y="1405"/>
                      </a:lnTo>
                      <a:lnTo>
                        <a:pt x="1114" y="1398"/>
                      </a:lnTo>
                      <a:lnTo>
                        <a:pt x="1102" y="1382"/>
                      </a:lnTo>
                      <a:lnTo>
                        <a:pt x="1097" y="1379"/>
                      </a:lnTo>
                      <a:lnTo>
                        <a:pt x="1093" y="1377"/>
                      </a:lnTo>
                      <a:lnTo>
                        <a:pt x="1078" y="1372"/>
                      </a:lnTo>
                      <a:lnTo>
                        <a:pt x="1074" y="1370"/>
                      </a:lnTo>
                      <a:lnTo>
                        <a:pt x="1067" y="1370"/>
                      </a:lnTo>
                      <a:lnTo>
                        <a:pt x="1064" y="1368"/>
                      </a:lnTo>
                      <a:lnTo>
                        <a:pt x="1064" y="1370"/>
                      </a:lnTo>
                      <a:lnTo>
                        <a:pt x="1062" y="1372"/>
                      </a:lnTo>
                      <a:lnTo>
                        <a:pt x="1060" y="1375"/>
                      </a:lnTo>
                      <a:lnTo>
                        <a:pt x="1057" y="1375"/>
                      </a:lnTo>
                      <a:lnTo>
                        <a:pt x="1055" y="1375"/>
                      </a:lnTo>
                      <a:lnTo>
                        <a:pt x="1050" y="1370"/>
                      </a:lnTo>
                      <a:lnTo>
                        <a:pt x="1038" y="1363"/>
                      </a:lnTo>
                      <a:lnTo>
                        <a:pt x="1033" y="1358"/>
                      </a:lnTo>
                      <a:lnTo>
                        <a:pt x="1029" y="1361"/>
                      </a:lnTo>
                      <a:lnTo>
                        <a:pt x="1019" y="1353"/>
                      </a:lnTo>
                      <a:lnTo>
                        <a:pt x="1012" y="1353"/>
                      </a:lnTo>
                      <a:lnTo>
                        <a:pt x="1015" y="1358"/>
                      </a:lnTo>
                      <a:lnTo>
                        <a:pt x="1015" y="1358"/>
                      </a:lnTo>
                      <a:lnTo>
                        <a:pt x="1012" y="1361"/>
                      </a:lnTo>
                      <a:lnTo>
                        <a:pt x="1012" y="1361"/>
                      </a:lnTo>
                      <a:lnTo>
                        <a:pt x="1015" y="1363"/>
                      </a:lnTo>
                      <a:lnTo>
                        <a:pt x="1017" y="1365"/>
                      </a:lnTo>
                      <a:lnTo>
                        <a:pt x="1019" y="1368"/>
                      </a:lnTo>
                      <a:lnTo>
                        <a:pt x="1022" y="1368"/>
                      </a:lnTo>
                      <a:lnTo>
                        <a:pt x="1022" y="1370"/>
                      </a:lnTo>
                      <a:lnTo>
                        <a:pt x="1019" y="1372"/>
                      </a:lnTo>
                      <a:lnTo>
                        <a:pt x="1019" y="1375"/>
                      </a:lnTo>
                      <a:lnTo>
                        <a:pt x="1017" y="1377"/>
                      </a:lnTo>
                      <a:lnTo>
                        <a:pt x="1022" y="1379"/>
                      </a:lnTo>
                      <a:lnTo>
                        <a:pt x="1022" y="1382"/>
                      </a:lnTo>
                      <a:lnTo>
                        <a:pt x="1019" y="1382"/>
                      </a:lnTo>
                      <a:lnTo>
                        <a:pt x="1017" y="1377"/>
                      </a:lnTo>
                      <a:lnTo>
                        <a:pt x="1015" y="1372"/>
                      </a:lnTo>
                      <a:lnTo>
                        <a:pt x="998" y="1368"/>
                      </a:lnTo>
                      <a:lnTo>
                        <a:pt x="981" y="1356"/>
                      </a:lnTo>
                      <a:lnTo>
                        <a:pt x="977" y="1353"/>
                      </a:lnTo>
                      <a:lnTo>
                        <a:pt x="967" y="1346"/>
                      </a:lnTo>
                      <a:lnTo>
                        <a:pt x="965" y="1346"/>
                      </a:lnTo>
                      <a:lnTo>
                        <a:pt x="955" y="1346"/>
                      </a:lnTo>
                      <a:lnTo>
                        <a:pt x="953" y="1346"/>
                      </a:lnTo>
                      <a:lnTo>
                        <a:pt x="948" y="1344"/>
                      </a:lnTo>
                      <a:lnTo>
                        <a:pt x="936" y="1332"/>
                      </a:lnTo>
                      <a:lnTo>
                        <a:pt x="934" y="1332"/>
                      </a:lnTo>
                      <a:lnTo>
                        <a:pt x="932" y="1327"/>
                      </a:lnTo>
                      <a:lnTo>
                        <a:pt x="927" y="1325"/>
                      </a:lnTo>
                      <a:lnTo>
                        <a:pt x="913" y="1320"/>
                      </a:lnTo>
                      <a:lnTo>
                        <a:pt x="908" y="1318"/>
                      </a:lnTo>
                      <a:lnTo>
                        <a:pt x="906" y="1313"/>
                      </a:lnTo>
                      <a:lnTo>
                        <a:pt x="903" y="1308"/>
                      </a:lnTo>
                      <a:lnTo>
                        <a:pt x="899" y="1311"/>
                      </a:lnTo>
                      <a:lnTo>
                        <a:pt x="894" y="1313"/>
                      </a:lnTo>
                      <a:lnTo>
                        <a:pt x="889" y="1313"/>
                      </a:lnTo>
                      <a:lnTo>
                        <a:pt x="887" y="1308"/>
                      </a:lnTo>
                      <a:lnTo>
                        <a:pt x="884" y="1306"/>
                      </a:lnTo>
                      <a:lnTo>
                        <a:pt x="868" y="1301"/>
                      </a:lnTo>
                      <a:lnTo>
                        <a:pt x="866" y="1292"/>
                      </a:lnTo>
                      <a:lnTo>
                        <a:pt x="832" y="1278"/>
                      </a:lnTo>
                      <a:lnTo>
                        <a:pt x="821" y="1271"/>
                      </a:lnTo>
                      <a:lnTo>
                        <a:pt x="818" y="1275"/>
                      </a:lnTo>
                      <a:lnTo>
                        <a:pt x="818" y="1280"/>
                      </a:lnTo>
                      <a:lnTo>
                        <a:pt x="816" y="1285"/>
                      </a:lnTo>
                      <a:lnTo>
                        <a:pt x="818" y="1292"/>
                      </a:lnTo>
                      <a:lnTo>
                        <a:pt x="804" y="1290"/>
                      </a:lnTo>
                      <a:lnTo>
                        <a:pt x="797" y="1285"/>
                      </a:lnTo>
                      <a:lnTo>
                        <a:pt x="797" y="1280"/>
                      </a:lnTo>
                      <a:lnTo>
                        <a:pt x="790" y="1271"/>
                      </a:lnTo>
                      <a:lnTo>
                        <a:pt x="780" y="1266"/>
                      </a:lnTo>
                      <a:lnTo>
                        <a:pt x="750" y="1266"/>
                      </a:lnTo>
                      <a:lnTo>
                        <a:pt x="735" y="1261"/>
                      </a:lnTo>
                      <a:lnTo>
                        <a:pt x="726" y="1256"/>
                      </a:lnTo>
                      <a:lnTo>
                        <a:pt x="724" y="1259"/>
                      </a:lnTo>
                      <a:lnTo>
                        <a:pt x="709" y="1259"/>
                      </a:lnTo>
                      <a:lnTo>
                        <a:pt x="702" y="1259"/>
                      </a:lnTo>
                      <a:lnTo>
                        <a:pt x="700" y="1256"/>
                      </a:lnTo>
                      <a:lnTo>
                        <a:pt x="695" y="1254"/>
                      </a:lnTo>
                      <a:lnTo>
                        <a:pt x="676" y="1254"/>
                      </a:lnTo>
                      <a:lnTo>
                        <a:pt x="669" y="1256"/>
                      </a:lnTo>
                      <a:lnTo>
                        <a:pt x="664" y="1259"/>
                      </a:lnTo>
                      <a:lnTo>
                        <a:pt x="657" y="1266"/>
                      </a:lnTo>
                      <a:lnTo>
                        <a:pt x="655" y="1271"/>
                      </a:lnTo>
                      <a:lnTo>
                        <a:pt x="653" y="1273"/>
                      </a:lnTo>
                      <a:lnTo>
                        <a:pt x="650" y="1273"/>
                      </a:lnTo>
                      <a:lnTo>
                        <a:pt x="648" y="1273"/>
                      </a:lnTo>
                      <a:lnTo>
                        <a:pt x="645" y="1273"/>
                      </a:lnTo>
                      <a:lnTo>
                        <a:pt x="629" y="1290"/>
                      </a:lnTo>
                      <a:lnTo>
                        <a:pt x="624" y="1290"/>
                      </a:lnTo>
                      <a:lnTo>
                        <a:pt x="619" y="1292"/>
                      </a:lnTo>
                      <a:lnTo>
                        <a:pt x="612" y="1299"/>
                      </a:lnTo>
                      <a:lnTo>
                        <a:pt x="593" y="1318"/>
                      </a:lnTo>
                      <a:lnTo>
                        <a:pt x="586" y="1327"/>
                      </a:lnTo>
                      <a:lnTo>
                        <a:pt x="589" y="1334"/>
                      </a:lnTo>
                      <a:lnTo>
                        <a:pt x="586" y="1339"/>
                      </a:lnTo>
                      <a:lnTo>
                        <a:pt x="586" y="1342"/>
                      </a:lnTo>
                      <a:lnTo>
                        <a:pt x="586" y="1346"/>
                      </a:lnTo>
                      <a:lnTo>
                        <a:pt x="586" y="1346"/>
                      </a:lnTo>
                      <a:lnTo>
                        <a:pt x="582" y="1351"/>
                      </a:lnTo>
                      <a:lnTo>
                        <a:pt x="579" y="1351"/>
                      </a:lnTo>
                      <a:lnTo>
                        <a:pt x="579" y="1358"/>
                      </a:lnTo>
                      <a:lnTo>
                        <a:pt x="579" y="1363"/>
                      </a:lnTo>
                      <a:lnTo>
                        <a:pt x="579" y="1368"/>
                      </a:lnTo>
                      <a:lnTo>
                        <a:pt x="577" y="1372"/>
                      </a:lnTo>
                      <a:lnTo>
                        <a:pt x="570" y="1377"/>
                      </a:lnTo>
                      <a:lnTo>
                        <a:pt x="553" y="1384"/>
                      </a:lnTo>
                      <a:lnTo>
                        <a:pt x="544" y="1389"/>
                      </a:lnTo>
                      <a:lnTo>
                        <a:pt x="541" y="1394"/>
                      </a:lnTo>
                      <a:lnTo>
                        <a:pt x="537" y="1398"/>
                      </a:lnTo>
                      <a:lnTo>
                        <a:pt x="530" y="1410"/>
                      </a:lnTo>
                      <a:lnTo>
                        <a:pt x="530" y="1413"/>
                      </a:lnTo>
                      <a:lnTo>
                        <a:pt x="532" y="1420"/>
                      </a:lnTo>
                      <a:lnTo>
                        <a:pt x="532" y="1424"/>
                      </a:lnTo>
                      <a:lnTo>
                        <a:pt x="530" y="1429"/>
                      </a:lnTo>
                      <a:lnTo>
                        <a:pt x="527" y="1436"/>
                      </a:lnTo>
                      <a:lnTo>
                        <a:pt x="515" y="1453"/>
                      </a:lnTo>
                      <a:lnTo>
                        <a:pt x="511" y="1465"/>
                      </a:lnTo>
                      <a:lnTo>
                        <a:pt x="518" y="1472"/>
                      </a:lnTo>
                      <a:lnTo>
                        <a:pt x="518" y="1474"/>
                      </a:lnTo>
                      <a:lnTo>
                        <a:pt x="511" y="1476"/>
                      </a:lnTo>
                      <a:lnTo>
                        <a:pt x="501" y="1488"/>
                      </a:lnTo>
                      <a:lnTo>
                        <a:pt x="494" y="1493"/>
                      </a:lnTo>
                      <a:lnTo>
                        <a:pt x="492" y="1495"/>
                      </a:lnTo>
                      <a:lnTo>
                        <a:pt x="492" y="1498"/>
                      </a:lnTo>
                      <a:lnTo>
                        <a:pt x="489" y="1500"/>
                      </a:lnTo>
                      <a:lnTo>
                        <a:pt x="489" y="1502"/>
                      </a:lnTo>
                      <a:lnTo>
                        <a:pt x="485" y="1505"/>
                      </a:lnTo>
                      <a:lnTo>
                        <a:pt x="478" y="1507"/>
                      </a:lnTo>
                      <a:lnTo>
                        <a:pt x="459" y="1526"/>
                      </a:lnTo>
                      <a:lnTo>
                        <a:pt x="407" y="1543"/>
                      </a:lnTo>
                      <a:lnTo>
                        <a:pt x="392" y="1555"/>
                      </a:lnTo>
                      <a:lnTo>
                        <a:pt x="381" y="1559"/>
                      </a:lnTo>
                      <a:lnTo>
                        <a:pt x="343" y="1562"/>
                      </a:lnTo>
                      <a:lnTo>
                        <a:pt x="333" y="1566"/>
                      </a:lnTo>
                      <a:lnTo>
                        <a:pt x="331" y="1566"/>
                      </a:lnTo>
                      <a:lnTo>
                        <a:pt x="326" y="1564"/>
                      </a:lnTo>
                      <a:lnTo>
                        <a:pt x="324" y="1564"/>
                      </a:lnTo>
                      <a:lnTo>
                        <a:pt x="321" y="1564"/>
                      </a:lnTo>
                      <a:lnTo>
                        <a:pt x="312" y="1545"/>
                      </a:lnTo>
                      <a:lnTo>
                        <a:pt x="310" y="1533"/>
                      </a:lnTo>
                      <a:lnTo>
                        <a:pt x="314" y="1524"/>
                      </a:lnTo>
                      <a:lnTo>
                        <a:pt x="326" y="1510"/>
                      </a:lnTo>
                      <a:lnTo>
                        <a:pt x="331" y="1498"/>
                      </a:lnTo>
                      <a:lnTo>
                        <a:pt x="345" y="1484"/>
                      </a:lnTo>
                      <a:lnTo>
                        <a:pt x="352" y="1474"/>
                      </a:lnTo>
                      <a:lnTo>
                        <a:pt x="355" y="1469"/>
                      </a:lnTo>
                      <a:lnTo>
                        <a:pt x="355" y="1460"/>
                      </a:lnTo>
                      <a:lnTo>
                        <a:pt x="357" y="1455"/>
                      </a:lnTo>
                      <a:lnTo>
                        <a:pt x="359" y="1450"/>
                      </a:lnTo>
                      <a:lnTo>
                        <a:pt x="364" y="1446"/>
                      </a:lnTo>
                      <a:lnTo>
                        <a:pt x="366" y="1441"/>
                      </a:lnTo>
                      <a:lnTo>
                        <a:pt x="366" y="1434"/>
                      </a:lnTo>
                      <a:lnTo>
                        <a:pt x="362" y="1424"/>
                      </a:lnTo>
                      <a:lnTo>
                        <a:pt x="355" y="1417"/>
                      </a:lnTo>
                      <a:lnTo>
                        <a:pt x="350" y="1410"/>
                      </a:lnTo>
                      <a:lnTo>
                        <a:pt x="352" y="1396"/>
                      </a:lnTo>
                      <a:lnTo>
                        <a:pt x="343" y="1396"/>
                      </a:lnTo>
                      <a:lnTo>
                        <a:pt x="331" y="1405"/>
                      </a:lnTo>
                      <a:lnTo>
                        <a:pt x="321" y="1408"/>
                      </a:lnTo>
                      <a:lnTo>
                        <a:pt x="272" y="1427"/>
                      </a:lnTo>
                      <a:lnTo>
                        <a:pt x="258" y="1427"/>
                      </a:lnTo>
                      <a:lnTo>
                        <a:pt x="255" y="1427"/>
                      </a:lnTo>
                      <a:lnTo>
                        <a:pt x="253" y="1424"/>
                      </a:lnTo>
                      <a:lnTo>
                        <a:pt x="250" y="1422"/>
                      </a:lnTo>
                      <a:lnTo>
                        <a:pt x="248" y="1420"/>
                      </a:lnTo>
                      <a:lnTo>
                        <a:pt x="243" y="1417"/>
                      </a:lnTo>
                      <a:lnTo>
                        <a:pt x="236" y="1417"/>
                      </a:lnTo>
                      <a:lnTo>
                        <a:pt x="229" y="1415"/>
                      </a:lnTo>
                      <a:lnTo>
                        <a:pt x="196" y="1398"/>
                      </a:lnTo>
                      <a:lnTo>
                        <a:pt x="184" y="1394"/>
                      </a:lnTo>
                      <a:lnTo>
                        <a:pt x="165" y="1387"/>
                      </a:lnTo>
                      <a:lnTo>
                        <a:pt x="161" y="1384"/>
                      </a:lnTo>
                      <a:lnTo>
                        <a:pt x="156" y="1387"/>
                      </a:lnTo>
                      <a:lnTo>
                        <a:pt x="153" y="1387"/>
                      </a:lnTo>
                      <a:lnTo>
                        <a:pt x="149" y="1389"/>
                      </a:lnTo>
                      <a:lnTo>
                        <a:pt x="146" y="1387"/>
                      </a:lnTo>
                      <a:lnTo>
                        <a:pt x="142" y="1384"/>
                      </a:lnTo>
                      <a:lnTo>
                        <a:pt x="142" y="1379"/>
                      </a:lnTo>
                      <a:lnTo>
                        <a:pt x="139" y="1377"/>
                      </a:lnTo>
                      <a:lnTo>
                        <a:pt x="137" y="1372"/>
                      </a:lnTo>
                      <a:lnTo>
                        <a:pt x="135" y="1370"/>
                      </a:lnTo>
                      <a:lnTo>
                        <a:pt x="127" y="1365"/>
                      </a:lnTo>
                      <a:lnTo>
                        <a:pt x="125" y="1363"/>
                      </a:lnTo>
                      <a:lnTo>
                        <a:pt x="123" y="1361"/>
                      </a:lnTo>
                      <a:lnTo>
                        <a:pt x="118" y="1351"/>
                      </a:lnTo>
                      <a:lnTo>
                        <a:pt x="116" y="1349"/>
                      </a:lnTo>
                      <a:lnTo>
                        <a:pt x="108" y="1339"/>
                      </a:lnTo>
                      <a:lnTo>
                        <a:pt x="106" y="1339"/>
                      </a:lnTo>
                      <a:lnTo>
                        <a:pt x="106" y="1334"/>
                      </a:lnTo>
                      <a:lnTo>
                        <a:pt x="106" y="1332"/>
                      </a:lnTo>
                      <a:lnTo>
                        <a:pt x="106" y="1330"/>
                      </a:lnTo>
                      <a:lnTo>
                        <a:pt x="106" y="1316"/>
                      </a:lnTo>
                      <a:lnTo>
                        <a:pt x="108" y="1313"/>
                      </a:lnTo>
                      <a:lnTo>
                        <a:pt x="118" y="1306"/>
                      </a:lnTo>
                      <a:lnTo>
                        <a:pt x="111" y="1299"/>
                      </a:lnTo>
                      <a:lnTo>
                        <a:pt x="99" y="1292"/>
                      </a:lnTo>
                      <a:lnTo>
                        <a:pt x="92" y="1280"/>
                      </a:lnTo>
                      <a:lnTo>
                        <a:pt x="90" y="1266"/>
                      </a:lnTo>
                      <a:lnTo>
                        <a:pt x="92" y="1261"/>
                      </a:lnTo>
                      <a:lnTo>
                        <a:pt x="108" y="1247"/>
                      </a:lnTo>
                      <a:lnTo>
                        <a:pt x="116" y="1228"/>
                      </a:lnTo>
                      <a:lnTo>
                        <a:pt x="120" y="1226"/>
                      </a:lnTo>
                      <a:lnTo>
                        <a:pt x="116" y="1216"/>
                      </a:lnTo>
                      <a:lnTo>
                        <a:pt x="118" y="1207"/>
                      </a:lnTo>
                      <a:lnTo>
                        <a:pt x="123" y="1200"/>
                      </a:lnTo>
                      <a:lnTo>
                        <a:pt x="130" y="1195"/>
                      </a:lnTo>
                      <a:lnTo>
                        <a:pt x="135" y="1195"/>
                      </a:lnTo>
                      <a:lnTo>
                        <a:pt x="146" y="1197"/>
                      </a:lnTo>
                      <a:lnTo>
                        <a:pt x="151" y="1197"/>
                      </a:lnTo>
                      <a:lnTo>
                        <a:pt x="149" y="1190"/>
                      </a:lnTo>
                      <a:lnTo>
                        <a:pt x="139" y="1174"/>
                      </a:lnTo>
                      <a:lnTo>
                        <a:pt x="137" y="1171"/>
                      </a:lnTo>
                      <a:lnTo>
                        <a:pt x="135" y="1162"/>
                      </a:lnTo>
                      <a:lnTo>
                        <a:pt x="130" y="1152"/>
                      </a:lnTo>
                      <a:lnTo>
                        <a:pt x="130" y="1152"/>
                      </a:lnTo>
                      <a:lnTo>
                        <a:pt x="132" y="1145"/>
                      </a:lnTo>
                      <a:lnTo>
                        <a:pt x="132" y="1145"/>
                      </a:lnTo>
                      <a:lnTo>
                        <a:pt x="132" y="1143"/>
                      </a:lnTo>
                      <a:lnTo>
                        <a:pt x="132" y="1140"/>
                      </a:lnTo>
                      <a:lnTo>
                        <a:pt x="132" y="1140"/>
                      </a:lnTo>
                      <a:lnTo>
                        <a:pt x="130" y="1138"/>
                      </a:lnTo>
                      <a:lnTo>
                        <a:pt x="130" y="1136"/>
                      </a:lnTo>
                      <a:lnTo>
                        <a:pt x="123" y="1129"/>
                      </a:lnTo>
                      <a:lnTo>
                        <a:pt x="108" y="1124"/>
                      </a:lnTo>
                      <a:lnTo>
                        <a:pt x="101" y="1124"/>
                      </a:lnTo>
                      <a:lnTo>
                        <a:pt x="87" y="1129"/>
                      </a:lnTo>
                      <a:lnTo>
                        <a:pt x="82" y="1129"/>
                      </a:lnTo>
                      <a:lnTo>
                        <a:pt x="61" y="1117"/>
                      </a:lnTo>
                      <a:lnTo>
                        <a:pt x="49" y="1110"/>
                      </a:lnTo>
                      <a:lnTo>
                        <a:pt x="45" y="1100"/>
                      </a:lnTo>
                      <a:lnTo>
                        <a:pt x="42" y="1077"/>
                      </a:lnTo>
                      <a:lnTo>
                        <a:pt x="40" y="1065"/>
                      </a:lnTo>
                      <a:lnTo>
                        <a:pt x="30" y="1060"/>
                      </a:lnTo>
                      <a:lnTo>
                        <a:pt x="21" y="1060"/>
                      </a:lnTo>
                      <a:lnTo>
                        <a:pt x="16" y="1058"/>
                      </a:lnTo>
                      <a:lnTo>
                        <a:pt x="14" y="1051"/>
                      </a:lnTo>
                      <a:lnTo>
                        <a:pt x="11" y="1048"/>
                      </a:lnTo>
                      <a:lnTo>
                        <a:pt x="11" y="1043"/>
                      </a:lnTo>
                      <a:lnTo>
                        <a:pt x="11" y="1041"/>
                      </a:lnTo>
                      <a:lnTo>
                        <a:pt x="7" y="1039"/>
                      </a:lnTo>
                      <a:lnTo>
                        <a:pt x="0" y="1029"/>
                      </a:lnTo>
                      <a:lnTo>
                        <a:pt x="4" y="1025"/>
                      </a:lnTo>
                      <a:lnTo>
                        <a:pt x="9" y="1020"/>
                      </a:lnTo>
                      <a:lnTo>
                        <a:pt x="19" y="1013"/>
                      </a:lnTo>
                      <a:lnTo>
                        <a:pt x="21" y="1013"/>
                      </a:lnTo>
                      <a:lnTo>
                        <a:pt x="26" y="1013"/>
                      </a:lnTo>
                      <a:lnTo>
                        <a:pt x="28" y="1010"/>
                      </a:lnTo>
                      <a:lnTo>
                        <a:pt x="30" y="1010"/>
                      </a:lnTo>
                      <a:lnTo>
                        <a:pt x="35" y="1006"/>
                      </a:lnTo>
                      <a:lnTo>
                        <a:pt x="38" y="1003"/>
                      </a:lnTo>
                      <a:lnTo>
                        <a:pt x="49" y="1006"/>
                      </a:lnTo>
                      <a:lnTo>
                        <a:pt x="61" y="1010"/>
                      </a:lnTo>
                      <a:lnTo>
                        <a:pt x="71" y="1013"/>
                      </a:lnTo>
                      <a:lnTo>
                        <a:pt x="80" y="1008"/>
                      </a:lnTo>
                      <a:lnTo>
                        <a:pt x="80" y="1003"/>
                      </a:lnTo>
                      <a:lnTo>
                        <a:pt x="80" y="1003"/>
                      </a:lnTo>
                      <a:lnTo>
                        <a:pt x="78" y="1001"/>
                      </a:lnTo>
                      <a:lnTo>
                        <a:pt x="78" y="996"/>
                      </a:lnTo>
                      <a:lnTo>
                        <a:pt x="80" y="996"/>
                      </a:lnTo>
                      <a:lnTo>
                        <a:pt x="87" y="994"/>
                      </a:lnTo>
                      <a:lnTo>
                        <a:pt x="92" y="994"/>
                      </a:lnTo>
                      <a:lnTo>
                        <a:pt x="94" y="989"/>
                      </a:lnTo>
                      <a:lnTo>
                        <a:pt x="99" y="980"/>
                      </a:lnTo>
                      <a:lnTo>
                        <a:pt x="104" y="975"/>
                      </a:lnTo>
                      <a:lnTo>
                        <a:pt x="113" y="970"/>
                      </a:lnTo>
                      <a:lnTo>
                        <a:pt x="123" y="965"/>
                      </a:lnTo>
                      <a:lnTo>
                        <a:pt x="125" y="968"/>
                      </a:lnTo>
                      <a:lnTo>
                        <a:pt x="130" y="970"/>
                      </a:lnTo>
                      <a:lnTo>
                        <a:pt x="132" y="973"/>
                      </a:lnTo>
                      <a:lnTo>
                        <a:pt x="135" y="970"/>
                      </a:lnTo>
                      <a:lnTo>
                        <a:pt x="139" y="958"/>
                      </a:lnTo>
                      <a:lnTo>
                        <a:pt x="146" y="951"/>
                      </a:lnTo>
                      <a:lnTo>
                        <a:pt x="144" y="944"/>
                      </a:lnTo>
                      <a:lnTo>
                        <a:pt x="142" y="937"/>
                      </a:lnTo>
                      <a:lnTo>
                        <a:pt x="139" y="923"/>
                      </a:lnTo>
                      <a:lnTo>
                        <a:pt x="139" y="920"/>
                      </a:lnTo>
                      <a:lnTo>
                        <a:pt x="149" y="909"/>
                      </a:lnTo>
                      <a:lnTo>
                        <a:pt x="153" y="897"/>
                      </a:lnTo>
                      <a:lnTo>
                        <a:pt x="156" y="890"/>
                      </a:lnTo>
                      <a:lnTo>
                        <a:pt x="156" y="885"/>
                      </a:lnTo>
                      <a:lnTo>
                        <a:pt x="153" y="883"/>
                      </a:lnTo>
                      <a:lnTo>
                        <a:pt x="139" y="878"/>
                      </a:lnTo>
                      <a:lnTo>
                        <a:pt x="135" y="875"/>
                      </a:lnTo>
                      <a:lnTo>
                        <a:pt x="132" y="871"/>
                      </a:lnTo>
                      <a:lnTo>
                        <a:pt x="130" y="866"/>
                      </a:lnTo>
                      <a:lnTo>
                        <a:pt x="127" y="861"/>
                      </a:lnTo>
                      <a:lnTo>
                        <a:pt x="113" y="854"/>
                      </a:lnTo>
                      <a:lnTo>
                        <a:pt x="99" y="847"/>
                      </a:lnTo>
                      <a:lnTo>
                        <a:pt x="97" y="840"/>
                      </a:lnTo>
                      <a:lnTo>
                        <a:pt x="92" y="823"/>
                      </a:lnTo>
                      <a:lnTo>
                        <a:pt x="92" y="821"/>
                      </a:lnTo>
                      <a:lnTo>
                        <a:pt x="87" y="816"/>
                      </a:lnTo>
                      <a:lnTo>
                        <a:pt x="87" y="812"/>
                      </a:lnTo>
                      <a:lnTo>
                        <a:pt x="87" y="809"/>
                      </a:lnTo>
                      <a:lnTo>
                        <a:pt x="90" y="800"/>
                      </a:lnTo>
                      <a:lnTo>
                        <a:pt x="90" y="797"/>
                      </a:lnTo>
                      <a:lnTo>
                        <a:pt x="87" y="793"/>
                      </a:lnTo>
                      <a:lnTo>
                        <a:pt x="85" y="790"/>
                      </a:lnTo>
                      <a:lnTo>
                        <a:pt x="75" y="788"/>
                      </a:lnTo>
                      <a:lnTo>
                        <a:pt x="71" y="786"/>
                      </a:lnTo>
                      <a:lnTo>
                        <a:pt x="64" y="778"/>
                      </a:lnTo>
                      <a:lnTo>
                        <a:pt x="59" y="778"/>
                      </a:lnTo>
                      <a:lnTo>
                        <a:pt x="52" y="778"/>
                      </a:lnTo>
                      <a:lnTo>
                        <a:pt x="42" y="771"/>
                      </a:lnTo>
                      <a:lnTo>
                        <a:pt x="35" y="764"/>
                      </a:lnTo>
                      <a:lnTo>
                        <a:pt x="30" y="745"/>
                      </a:lnTo>
                      <a:lnTo>
                        <a:pt x="30" y="738"/>
                      </a:lnTo>
                      <a:lnTo>
                        <a:pt x="28" y="731"/>
                      </a:lnTo>
                      <a:lnTo>
                        <a:pt x="30" y="724"/>
                      </a:lnTo>
                      <a:lnTo>
                        <a:pt x="33" y="717"/>
                      </a:lnTo>
                      <a:lnTo>
                        <a:pt x="38" y="715"/>
                      </a:lnTo>
                      <a:lnTo>
                        <a:pt x="47" y="712"/>
                      </a:lnTo>
                      <a:lnTo>
                        <a:pt x="47" y="712"/>
                      </a:lnTo>
                      <a:lnTo>
                        <a:pt x="47" y="710"/>
                      </a:lnTo>
                      <a:lnTo>
                        <a:pt x="47" y="708"/>
                      </a:lnTo>
                      <a:lnTo>
                        <a:pt x="49" y="705"/>
                      </a:lnTo>
                      <a:lnTo>
                        <a:pt x="49" y="705"/>
                      </a:lnTo>
                      <a:lnTo>
                        <a:pt x="54" y="708"/>
                      </a:lnTo>
                      <a:lnTo>
                        <a:pt x="54" y="708"/>
                      </a:lnTo>
                      <a:lnTo>
                        <a:pt x="56" y="708"/>
                      </a:lnTo>
                      <a:lnTo>
                        <a:pt x="64" y="708"/>
                      </a:lnTo>
                      <a:lnTo>
                        <a:pt x="71" y="705"/>
                      </a:lnTo>
                      <a:lnTo>
                        <a:pt x="75" y="700"/>
                      </a:lnTo>
                      <a:lnTo>
                        <a:pt x="82" y="696"/>
                      </a:lnTo>
                      <a:lnTo>
                        <a:pt x="85" y="689"/>
                      </a:lnTo>
                      <a:lnTo>
                        <a:pt x="87" y="681"/>
                      </a:lnTo>
                      <a:lnTo>
                        <a:pt x="87" y="677"/>
                      </a:lnTo>
                      <a:lnTo>
                        <a:pt x="92" y="672"/>
                      </a:lnTo>
                      <a:lnTo>
                        <a:pt x="94" y="670"/>
                      </a:lnTo>
                      <a:lnTo>
                        <a:pt x="108" y="684"/>
                      </a:lnTo>
                      <a:lnTo>
                        <a:pt x="118" y="686"/>
                      </a:lnTo>
                      <a:lnTo>
                        <a:pt x="125" y="689"/>
                      </a:lnTo>
                      <a:lnTo>
                        <a:pt x="135" y="686"/>
                      </a:lnTo>
                      <a:lnTo>
                        <a:pt x="144" y="684"/>
                      </a:lnTo>
                      <a:lnTo>
                        <a:pt x="163" y="674"/>
                      </a:lnTo>
                      <a:lnTo>
                        <a:pt x="170" y="670"/>
                      </a:lnTo>
                      <a:lnTo>
                        <a:pt x="172" y="667"/>
                      </a:lnTo>
                      <a:lnTo>
                        <a:pt x="196" y="667"/>
                      </a:lnTo>
                      <a:lnTo>
                        <a:pt x="205" y="665"/>
                      </a:lnTo>
                      <a:lnTo>
                        <a:pt x="222" y="648"/>
                      </a:lnTo>
                      <a:lnTo>
                        <a:pt x="229" y="644"/>
                      </a:lnTo>
                      <a:lnTo>
                        <a:pt x="236" y="644"/>
                      </a:lnTo>
                      <a:lnTo>
                        <a:pt x="239" y="639"/>
                      </a:lnTo>
                      <a:lnTo>
                        <a:pt x="241" y="634"/>
                      </a:lnTo>
                      <a:lnTo>
                        <a:pt x="246" y="632"/>
                      </a:lnTo>
                      <a:lnTo>
                        <a:pt x="276" y="637"/>
                      </a:lnTo>
                      <a:lnTo>
                        <a:pt x="281" y="637"/>
                      </a:lnTo>
                      <a:lnTo>
                        <a:pt x="286" y="641"/>
                      </a:lnTo>
                      <a:lnTo>
                        <a:pt x="293" y="648"/>
                      </a:lnTo>
                      <a:lnTo>
                        <a:pt x="293" y="651"/>
                      </a:lnTo>
                      <a:lnTo>
                        <a:pt x="298" y="651"/>
                      </a:lnTo>
                      <a:lnTo>
                        <a:pt x="300" y="651"/>
                      </a:lnTo>
                      <a:lnTo>
                        <a:pt x="300" y="648"/>
                      </a:lnTo>
                      <a:lnTo>
                        <a:pt x="305" y="648"/>
                      </a:lnTo>
                      <a:lnTo>
                        <a:pt x="319" y="653"/>
                      </a:lnTo>
                      <a:lnTo>
                        <a:pt x="326" y="651"/>
                      </a:lnTo>
                      <a:lnTo>
                        <a:pt x="333" y="653"/>
                      </a:lnTo>
                      <a:lnTo>
                        <a:pt x="333" y="653"/>
                      </a:lnTo>
                      <a:lnTo>
                        <a:pt x="338" y="651"/>
                      </a:lnTo>
                      <a:lnTo>
                        <a:pt x="338" y="648"/>
                      </a:lnTo>
                      <a:lnTo>
                        <a:pt x="338" y="646"/>
                      </a:lnTo>
                      <a:lnTo>
                        <a:pt x="338" y="641"/>
                      </a:lnTo>
                      <a:lnTo>
                        <a:pt x="343" y="627"/>
                      </a:lnTo>
                      <a:lnTo>
                        <a:pt x="350" y="622"/>
                      </a:lnTo>
                      <a:lnTo>
                        <a:pt x="371" y="615"/>
                      </a:lnTo>
                      <a:lnTo>
                        <a:pt x="373" y="613"/>
                      </a:lnTo>
                      <a:lnTo>
                        <a:pt x="376" y="611"/>
                      </a:lnTo>
                      <a:lnTo>
                        <a:pt x="378" y="606"/>
                      </a:lnTo>
                      <a:lnTo>
                        <a:pt x="378" y="606"/>
                      </a:lnTo>
                      <a:lnTo>
                        <a:pt x="381" y="599"/>
                      </a:lnTo>
                      <a:lnTo>
                        <a:pt x="383" y="599"/>
                      </a:lnTo>
                      <a:lnTo>
                        <a:pt x="383" y="587"/>
                      </a:lnTo>
                      <a:lnTo>
                        <a:pt x="381" y="582"/>
                      </a:lnTo>
                      <a:lnTo>
                        <a:pt x="383" y="575"/>
                      </a:lnTo>
                      <a:lnTo>
                        <a:pt x="383" y="573"/>
                      </a:lnTo>
                      <a:lnTo>
                        <a:pt x="385" y="568"/>
                      </a:lnTo>
                      <a:lnTo>
                        <a:pt x="392" y="568"/>
                      </a:lnTo>
                      <a:lnTo>
                        <a:pt x="395" y="566"/>
                      </a:lnTo>
                      <a:lnTo>
                        <a:pt x="407" y="554"/>
                      </a:lnTo>
                      <a:lnTo>
                        <a:pt x="411" y="540"/>
                      </a:lnTo>
                      <a:lnTo>
                        <a:pt x="409" y="523"/>
                      </a:lnTo>
                      <a:lnTo>
                        <a:pt x="399" y="509"/>
                      </a:lnTo>
                      <a:lnTo>
                        <a:pt x="392" y="502"/>
                      </a:lnTo>
                      <a:lnTo>
                        <a:pt x="390" y="502"/>
                      </a:lnTo>
                      <a:lnTo>
                        <a:pt x="392" y="497"/>
                      </a:lnTo>
                      <a:lnTo>
                        <a:pt x="395" y="492"/>
                      </a:lnTo>
                      <a:lnTo>
                        <a:pt x="399" y="487"/>
                      </a:lnTo>
                      <a:lnTo>
                        <a:pt x="404" y="483"/>
                      </a:lnTo>
                      <a:lnTo>
                        <a:pt x="418" y="478"/>
                      </a:lnTo>
                      <a:lnTo>
                        <a:pt x="423" y="473"/>
                      </a:lnTo>
                      <a:lnTo>
                        <a:pt x="435" y="454"/>
                      </a:lnTo>
                      <a:lnTo>
                        <a:pt x="442" y="447"/>
                      </a:lnTo>
                      <a:lnTo>
                        <a:pt x="447" y="445"/>
                      </a:lnTo>
                      <a:lnTo>
                        <a:pt x="449" y="443"/>
                      </a:lnTo>
                      <a:lnTo>
                        <a:pt x="449" y="438"/>
                      </a:lnTo>
                      <a:lnTo>
                        <a:pt x="449" y="433"/>
                      </a:lnTo>
                      <a:lnTo>
                        <a:pt x="447" y="433"/>
                      </a:lnTo>
                      <a:lnTo>
                        <a:pt x="447" y="431"/>
                      </a:lnTo>
                      <a:lnTo>
                        <a:pt x="449" y="424"/>
                      </a:lnTo>
                      <a:lnTo>
                        <a:pt x="454" y="417"/>
                      </a:lnTo>
                      <a:lnTo>
                        <a:pt x="461" y="412"/>
                      </a:lnTo>
                      <a:lnTo>
                        <a:pt x="478" y="407"/>
                      </a:lnTo>
                      <a:lnTo>
                        <a:pt x="485" y="407"/>
                      </a:lnTo>
                      <a:lnTo>
                        <a:pt x="489" y="414"/>
                      </a:lnTo>
                      <a:lnTo>
                        <a:pt x="492" y="424"/>
                      </a:lnTo>
                      <a:lnTo>
                        <a:pt x="494" y="435"/>
                      </a:lnTo>
                      <a:lnTo>
                        <a:pt x="494" y="447"/>
                      </a:lnTo>
                      <a:lnTo>
                        <a:pt x="492" y="471"/>
                      </a:lnTo>
                      <a:lnTo>
                        <a:pt x="492" y="480"/>
                      </a:lnTo>
                      <a:lnTo>
                        <a:pt x="494" y="492"/>
                      </a:lnTo>
                      <a:lnTo>
                        <a:pt x="499" y="497"/>
                      </a:lnTo>
                      <a:lnTo>
                        <a:pt x="504" y="502"/>
                      </a:lnTo>
                      <a:lnTo>
                        <a:pt x="511" y="504"/>
                      </a:lnTo>
                      <a:lnTo>
                        <a:pt x="520" y="506"/>
                      </a:lnTo>
                      <a:lnTo>
                        <a:pt x="530" y="516"/>
                      </a:lnTo>
                      <a:lnTo>
                        <a:pt x="551" y="540"/>
                      </a:lnTo>
                      <a:lnTo>
                        <a:pt x="553" y="542"/>
                      </a:lnTo>
                      <a:lnTo>
                        <a:pt x="560" y="544"/>
                      </a:lnTo>
                      <a:lnTo>
                        <a:pt x="575" y="549"/>
                      </a:lnTo>
                      <a:lnTo>
                        <a:pt x="579" y="549"/>
                      </a:lnTo>
                      <a:lnTo>
                        <a:pt x="582" y="549"/>
                      </a:lnTo>
                      <a:lnTo>
                        <a:pt x="586" y="544"/>
                      </a:lnTo>
                      <a:lnTo>
                        <a:pt x="586" y="542"/>
                      </a:lnTo>
                      <a:lnTo>
                        <a:pt x="589" y="542"/>
                      </a:lnTo>
                      <a:lnTo>
                        <a:pt x="593" y="547"/>
                      </a:lnTo>
                      <a:lnTo>
                        <a:pt x="596" y="549"/>
                      </a:lnTo>
                      <a:lnTo>
                        <a:pt x="601" y="549"/>
                      </a:lnTo>
                      <a:lnTo>
                        <a:pt x="608" y="547"/>
                      </a:lnTo>
                      <a:lnTo>
                        <a:pt x="612" y="549"/>
                      </a:lnTo>
                      <a:lnTo>
                        <a:pt x="622" y="556"/>
                      </a:lnTo>
                      <a:lnTo>
                        <a:pt x="619" y="568"/>
                      </a:lnTo>
                      <a:lnTo>
                        <a:pt x="612" y="580"/>
                      </a:lnTo>
                      <a:lnTo>
                        <a:pt x="608" y="592"/>
                      </a:lnTo>
                      <a:lnTo>
                        <a:pt x="608" y="594"/>
                      </a:lnTo>
                      <a:lnTo>
                        <a:pt x="605" y="594"/>
                      </a:lnTo>
                      <a:lnTo>
                        <a:pt x="612" y="594"/>
                      </a:lnTo>
                      <a:lnTo>
                        <a:pt x="615" y="596"/>
                      </a:lnTo>
                      <a:lnTo>
                        <a:pt x="634" y="603"/>
                      </a:lnTo>
                      <a:lnTo>
                        <a:pt x="636" y="603"/>
                      </a:lnTo>
                      <a:lnTo>
                        <a:pt x="638" y="606"/>
                      </a:lnTo>
                      <a:lnTo>
                        <a:pt x="641" y="613"/>
                      </a:lnTo>
                      <a:lnTo>
                        <a:pt x="648" y="622"/>
                      </a:lnTo>
                      <a:lnTo>
                        <a:pt x="650" y="627"/>
                      </a:lnTo>
                      <a:lnTo>
                        <a:pt x="653" y="632"/>
                      </a:lnTo>
                      <a:lnTo>
                        <a:pt x="655" y="639"/>
                      </a:lnTo>
                      <a:lnTo>
                        <a:pt x="655" y="646"/>
                      </a:lnTo>
                      <a:lnTo>
                        <a:pt x="653" y="651"/>
                      </a:lnTo>
                      <a:lnTo>
                        <a:pt x="653" y="658"/>
                      </a:lnTo>
                      <a:lnTo>
                        <a:pt x="664" y="653"/>
                      </a:lnTo>
                      <a:lnTo>
                        <a:pt x="674" y="655"/>
                      </a:lnTo>
                      <a:lnTo>
                        <a:pt x="683" y="655"/>
                      </a:lnTo>
                      <a:lnTo>
                        <a:pt x="690" y="644"/>
                      </a:lnTo>
                      <a:lnTo>
                        <a:pt x="698" y="627"/>
                      </a:lnTo>
                      <a:lnTo>
                        <a:pt x="698" y="620"/>
                      </a:lnTo>
                      <a:lnTo>
                        <a:pt x="693" y="615"/>
                      </a:lnTo>
                      <a:lnTo>
                        <a:pt x="690" y="613"/>
                      </a:lnTo>
                      <a:lnTo>
                        <a:pt x="683" y="613"/>
                      </a:lnTo>
                      <a:lnTo>
                        <a:pt x="681" y="611"/>
                      </a:lnTo>
                      <a:lnTo>
                        <a:pt x="676" y="608"/>
                      </a:lnTo>
                      <a:lnTo>
                        <a:pt x="674" y="599"/>
                      </a:lnTo>
                      <a:lnTo>
                        <a:pt x="669" y="596"/>
                      </a:lnTo>
                      <a:lnTo>
                        <a:pt x="669" y="596"/>
                      </a:lnTo>
                      <a:lnTo>
                        <a:pt x="669" y="594"/>
                      </a:lnTo>
                      <a:lnTo>
                        <a:pt x="669" y="594"/>
                      </a:lnTo>
                      <a:lnTo>
                        <a:pt x="669" y="592"/>
                      </a:lnTo>
                      <a:lnTo>
                        <a:pt x="679" y="582"/>
                      </a:lnTo>
                      <a:lnTo>
                        <a:pt x="672" y="568"/>
                      </a:lnTo>
                      <a:lnTo>
                        <a:pt x="672" y="563"/>
                      </a:lnTo>
                      <a:lnTo>
                        <a:pt x="679" y="556"/>
                      </a:lnTo>
                      <a:lnTo>
                        <a:pt x="686" y="554"/>
                      </a:lnTo>
                      <a:lnTo>
                        <a:pt x="688" y="551"/>
                      </a:lnTo>
                      <a:lnTo>
                        <a:pt x="690" y="547"/>
                      </a:lnTo>
                      <a:lnTo>
                        <a:pt x="690" y="542"/>
                      </a:lnTo>
                      <a:lnTo>
                        <a:pt x="688" y="532"/>
                      </a:lnTo>
                      <a:lnTo>
                        <a:pt x="688" y="528"/>
                      </a:lnTo>
                      <a:lnTo>
                        <a:pt x="693" y="518"/>
                      </a:lnTo>
                      <a:lnTo>
                        <a:pt x="712" y="502"/>
                      </a:lnTo>
                      <a:lnTo>
                        <a:pt x="714" y="497"/>
                      </a:lnTo>
                      <a:lnTo>
                        <a:pt x="716" y="492"/>
                      </a:lnTo>
                      <a:lnTo>
                        <a:pt x="716" y="487"/>
                      </a:lnTo>
                      <a:lnTo>
                        <a:pt x="719" y="485"/>
                      </a:lnTo>
                      <a:lnTo>
                        <a:pt x="724" y="483"/>
                      </a:lnTo>
                      <a:lnTo>
                        <a:pt x="726" y="478"/>
                      </a:lnTo>
                      <a:lnTo>
                        <a:pt x="728" y="473"/>
                      </a:lnTo>
                      <a:lnTo>
                        <a:pt x="731" y="459"/>
                      </a:lnTo>
                      <a:lnTo>
                        <a:pt x="738" y="440"/>
                      </a:lnTo>
                      <a:lnTo>
                        <a:pt x="738" y="431"/>
                      </a:lnTo>
                      <a:lnTo>
                        <a:pt x="735" y="424"/>
                      </a:lnTo>
                      <a:lnTo>
                        <a:pt x="731" y="409"/>
                      </a:lnTo>
                      <a:lnTo>
                        <a:pt x="731" y="405"/>
                      </a:lnTo>
                      <a:lnTo>
                        <a:pt x="731" y="398"/>
                      </a:lnTo>
                      <a:lnTo>
                        <a:pt x="728" y="395"/>
                      </a:lnTo>
                      <a:lnTo>
                        <a:pt x="726" y="393"/>
                      </a:lnTo>
                      <a:lnTo>
                        <a:pt x="721" y="386"/>
                      </a:lnTo>
                      <a:lnTo>
                        <a:pt x="724" y="376"/>
                      </a:lnTo>
                      <a:lnTo>
                        <a:pt x="726" y="364"/>
                      </a:lnTo>
                      <a:lnTo>
                        <a:pt x="731" y="360"/>
                      </a:lnTo>
                      <a:lnTo>
                        <a:pt x="745" y="355"/>
                      </a:lnTo>
                      <a:lnTo>
                        <a:pt x="752" y="357"/>
                      </a:lnTo>
                      <a:lnTo>
                        <a:pt x="752" y="362"/>
                      </a:lnTo>
                      <a:lnTo>
                        <a:pt x="761" y="369"/>
                      </a:lnTo>
                      <a:lnTo>
                        <a:pt x="764" y="369"/>
                      </a:lnTo>
                      <a:lnTo>
                        <a:pt x="766" y="367"/>
                      </a:lnTo>
                      <a:lnTo>
                        <a:pt x="766" y="364"/>
                      </a:lnTo>
                      <a:lnTo>
                        <a:pt x="769" y="362"/>
                      </a:lnTo>
                      <a:lnTo>
                        <a:pt x="769" y="360"/>
                      </a:lnTo>
                      <a:lnTo>
                        <a:pt x="773" y="355"/>
                      </a:lnTo>
                      <a:lnTo>
                        <a:pt x="776" y="355"/>
                      </a:lnTo>
                      <a:lnTo>
                        <a:pt x="778" y="357"/>
                      </a:lnTo>
                      <a:lnTo>
                        <a:pt x="783" y="398"/>
                      </a:lnTo>
                      <a:lnTo>
                        <a:pt x="783" y="405"/>
                      </a:lnTo>
                      <a:lnTo>
                        <a:pt x="785" y="405"/>
                      </a:lnTo>
                      <a:lnTo>
                        <a:pt x="787" y="407"/>
                      </a:lnTo>
                      <a:lnTo>
                        <a:pt x="795" y="409"/>
                      </a:lnTo>
                      <a:lnTo>
                        <a:pt x="797" y="412"/>
                      </a:lnTo>
                      <a:lnTo>
                        <a:pt x="804" y="426"/>
                      </a:lnTo>
                      <a:lnTo>
                        <a:pt x="809" y="431"/>
                      </a:lnTo>
                      <a:lnTo>
                        <a:pt x="816" y="435"/>
                      </a:lnTo>
                      <a:lnTo>
                        <a:pt x="823" y="438"/>
                      </a:lnTo>
                      <a:lnTo>
                        <a:pt x="856" y="433"/>
                      </a:lnTo>
                      <a:lnTo>
                        <a:pt x="861" y="431"/>
                      </a:lnTo>
                      <a:lnTo>
                        <a:pt x="866" y="424"/>
                      </a:lnTo>
                      <a:lnTo>
                        <a:pt x="866" y="421"/>
                      </a:lnTo>
                      <a:lnTo>
                        <a:pt x="863" y="417"/>
                      </a:lnTo>
                      <a:lnTo>
                        <a:pt x="863" y="409"/>
                      </a:lnTo>
                      <a:lnTo>
                        <a:pt x="866" y="407"/>
                      </a:lnTo>
                      <a:lnTo>
                        <a:pt x="870" y="407"/>
                      </a:lnTo>
                      <a:lnTo>
                        <a:pt x="877" y="409"/>
                      </a:lnTo>
                      <a:lnTo>
                        <a:pt x="880" y="409"/>
                      </a:lnTo>
                      <a:lnTo>
                        <a:pt x="887" y="407"/>
                      </a:lnTo>
                      <a:lnTo>
                        <a:pt x="903" y="395"/>
                      </a:lnTo>
                      <a:lnTo>
                        <a:pt x="918" y="390"/>
                      </a:lnTo>
                      <a:lnTo>
                        <a:pt x="922" y="390"/>
                      </a:lnTo>
                      <a:lnTo>
                        <a:pt x="929" y="393"/>
                      </a:lnTo>
                      <a:lnTo>
                        <a:pt x="936" y="395"/>
                      </a:lnTo>
                      <a:lnTo>
                        <a:pt x="939" y="402"/>
                      </a:lnTo>
                      <a:lnTo>
                        <a:pt x="941" y="412"/>
                      </a:lnTo>
                      <a:lnTo>
                        <a:pt x="944" y="419"/>
                      </a:lnTo>
                      <a:lnTo>
                        <a:pt x="948" y="426"/>
                      </a:lnTo>
                      <a:lnTo>
                        <a:pt x="963" y="433"/>
                      </a:lnTo>
                      <a:lnTo>
                        <a:pt x="965" y="440"/>
                      </a:lnTo>
                      <a:lnTo>
                        <a:pt x="967" y="450"/>
                      </a:lnTo>
                      <a:lnTo>
                        <a:pt x="977" y="450"/>
                      </a:lnTo>
                      <a:lnTo>
                        <a:pt x="989" y="443"/>
                      </a:lnTo>
                      <a:lnTo>
                        <a:pt x="996" y="438"/>
                      </a:lnTo>
                      <a:lnTo>
                        <a:pt x="998" y="428"/>
                      </a:lnTo>
                      <a:lnTo>
                        <a:pt x="993" y="421"/>
                      </a:lnTo>
                      <a:lnTo>
                        <a:pt x="979" y="409"/>
                      </a:lnTo>
                      <a:lnTo>
                        <a:pt x="977" y="407"/>
                      </a:lnTo>
                      <a:lnTo>
                        <a:pt x="974" y="402"/>
                      </a:lnTo>
                      <a:lnTo>
                        <a:pt x="974" y="398"/>
                      </a:lnTo>
                      <a:lnTo>
                        <a:pt x="977" y="393"/>
                      </a:lnTo>
                      <a:lnTo>
                        <a:pt x="977" y="388"/>
                      </a:lnTo>
                      <a:lnTo>
                        <a:pt x="984" y="381"/>
                      </a:lnTo>
                      <a:lnTo>
                        <a:pt x="984" y="379"/>
                      </a:lnTo>
                      <a:lnTo>
                        <a:pt x="986" y="369"/>
                      </a:lnTo>
                      <a:lnTo>
                        <a:pt x="984" y="364"/>
                      </a:lnTo>
                      <a:lnTo>
                        <a:pt x="977" y="364"/>
                      </a:lnTo>
                      <a:lnTo>
                        <a:pt x="965" y="362"/>
                      </a:lnTo>
                      <a:lnTo>
                        <a:pt x="955" y="360"/>
                      </a:lnTo>
                      <a:lnTo>
                        <a:pt x="951" y="355"/>
                      </a:lnTo>
                      <a:lnTo>
                        <a:pt x="953" y="346"/>
                      </a:lnTo>
                      <a:lnTo>
                        <a:pt x="951" y="346"/>
                      </a:lnTo>
                      <a:lnTo>
                        <a:pt x="948" y="343"/>
                      </a:lnTo>
                      <a:lnTo>
                        <a:pt x="948" y="338"/>
                      </a:lnTo>
                      <a:lnTo>
                        <a:pt x="948" y="336"/>
                      </a:lnTo>
                      <a:lnTo>
                        <a:pt x="948" y="331"/>
                      </a:lnTo>
                      <a:lnTo>
                        <a:pt x="946" y="322"/>
                      </a:lnTo>
                      <a:lnTo>
                        <a:pt x="946" y="317"/>
                      </a:lnTo>
                      <a:lnTo>
                        <a:pt x="948" y="315"/>
                      </a:lnTo>
                      <a:lnTo>
                        <a:pt x="955" y="308"/>
                      </a:lnTo>
                      <a:lnTo>
                        <a:pt x="955" y="303"/>
                      </a:lnTo>
                      <a:lnTo>
                        <a:pt x="958" y="289"/>
                      </a:lnTo>
                      <a:lnTo>
                        <a:pt x="960" y="286"/>
                      </a:lnTo>
                      <a:lnTo>
                        <a:pt x="963" y="284"/>
                      </a:lnTo>
                      <a:lnTo>
                        <a:pt x="989" y="272"/>
                      </a:lnTo>
                      <a:lnTo>
                        <a:pt x="996" y="272"/>
                      </a:lnTo>
                      <a:lnTo>
                        <a:pt x="1000" y="275"/>
                      </a:lnTo>
                      <a:lnTo>
                        <a:pt x="1003" y="279"/>
                      </a:lnTo>
                      <a:lnTo>
                        <a:pt x="1000" y="289"/>
                      </a:lnTo>
                      <a:lnTo>
                        <a:pt x="1003" y="293"/>
                      </a:lnTo>
                      <a:lnTo>
                        <a:pt x="1015" y="296"/>
                      </a:lnTo>
                      <a:lnTo>
                        <a:pt x="1019" y="298"/>
                      </a:lnTo>
                      <a:lnTo>
                        <a:pt x="1019" y="298"/>
                      </a:lnTo>
                      <a:lnTo>
                        <a:pt x="1022" y="301"/>
                      </a:lnTo>
                      <a:lnTo>
                        <a:pt x="1026" y="303"/>
                      </a:lnTo>
                      <a:lnTo>
                        <a:pt x="1029" y="303"/>
                      </a:lnTo>
                      <a:lnTo>
                        <a:pt x="1038" y="301"/>
                      </a:lnTo>
                      <a:lnTo>
                        <a:pt x="1060" y="303"/>
                      </a:lnTo>
                      <a:lnTo>
                        <a:pt x="1067" y="301"/>
                      </a:lnTo>
                      <a:lnTo>
                        <a:pt x="1069" y="293"/>
                      </a:lnTo>
                      <a:lnTo>
                        <a:pt x="1069" y="284"/>
                      </a:lnTo>
                      <a:lnTo>
                        <a:pt x="1069" y="272"/>
                      </a:lnTo>
                      <a:lnTo>
                        <a:pt x="1064" y="265"/>
                      </a:lnTo>
                      <a:lnTo>
                        <a:pt x="1060" y="260"/>
                      </a:lnTo>
                      <a:lnTo>
                        <a:pt x="1045" y="260"/>
                      </a:lnTo>
                      <a:lnTo>
                        <a:pt x="1041" y="256"/>
                      </a:lnTo>
                      <a:lnTo>
                        <a:pt x="1036" y="246"/>
                      </a:lnTo>
                      <a:lnTo>
                        <a:pt x="1038" y="244"/>
                      </a:lnTo>
                      <a:lnTo>
                        <a:pt x="1041" y="239"/>
                      </a:lnTo>
                      <a:lnTo>
                        <a:pt x="1043" y="234"/>
                      </a:lnTo>
                      <a:lnTo>
                        <a:pt x="1043" y="227"/>
                      </a:lnTo>
                      <a:lnTo>
                        <a:pt x="1041" y="223"/>
                      </a:lnTo>
                      <a:lnTo>
                        <a:pt x="1043" y="218"/>
                      </a:lnTo>
                      <a:lnTo>
                        <a:pt x="1045" y="215"/>
                      </a:lnTo>
                      <a:lnTo>
                        <a:pt x="1050" y="208"/>
                      </a:lnTo>
                      <a:lnTo>
                        <a:pt x="1048" y="204"/>
                      </a:lnTo>
                      <a:lnTo>
                        <a:pt x="1045" y="199"/>
                      </a:lnTo>
                      <a:lnTo>
                        <a:pt x="1043" y="192"/>
                      </a:lnTo>
                      <a:lnTo>
                        <a:pt x="1048" y="182"/>
                      </a:lnTo>
                      <a:lnTo>
                        <a:pt x="1050" y="180"/>
                      </a:lnTo>
                      <a:lnTo>
                        <a:pt x="1050" y="175"/>
                      </a:lnTo>
                      <a:lnTo>
                        <a:pt x="1050" y="163"/>
                      </a:lnTo>
                      <a:lnTo>
                        <a:pt x="1060" y="168"/>
                      </a:lnTo>
                      <a:lnTo>
                        <a:pt x="1074" y="168"/>
                      </a:lnTo>
                      <a:lnTo>
                        <a:pt x="1100" y="156"/>
                      </a:lnTo>
                      <a:lnTo>
                        <a:pt x="1107" y="156"/>
                      </a:lnTo>
                      <a:lnTo>
                        <a:pt x="1109" y="156"/>
                      </a:lnTo>
                      <a:lnTo>
                        <a:pt x="1133" y="166"/>
                      </a:lnTo>
                      <a:lnTo>
                        <a:pt x="1138" y="170"/>
                      </a:lnTo>
                      <a:lnTo>
                        <a:pt x="1138" y="173"/>
                      </a:lnTo>
                      <a:lnTo>
                        <a:pt x="1130" y="180"/>
                      </a:lnTo>
                      <a:lnTo>
                        <a:pt x="1130" y="182"/>
                      </a:lnTo>
                      <a:lnTo>
                        <a:pt x="1133" y="185"/>
                      </a:lnTo>
                      <a:lnTo>
                        <a:pt x="1135" y="185"/>
                      </a:lnTo>
                      <a:lnTo>
                        <a:pt x="1140" y="182"/>
                      </a:lnTo>
                      <a:lnTo>
                        <a:pt x="1145" y="182"/>
                      </a:lnTo>
                      <a:lnTo>
                        <a:pt x="1154" y="187"/>
                      </a:lnTo>
                      <a:lnTo>
                        <a:pt x="1157" y="187"/>
                      </a:lnTo>
                      <a:lnTo>
                        <a:pt x="1161" y="185"/>
                      </a:lnTo>
                      <a:lnTo>
                        <a:pt x="1164" y="182"/>
                      </a:lnTo>
                      <a:lnTo>
                        <a:pt x="1166" y="185"/>
                      </a:lnTo>
                      <a:lnTo>
                        <a:pt x="1173" y="187"/>
                      </a:lnTo>
                      <a:lnTo>
                        <a:pt x="1175" y="189"/>
                      </a:lnTo>
                      <a:lnTo>
                        <a:pt x="1178" y="189"/>
                      </a:lnTo>
                      <a:lnTo>
                        <a:pt x="1187" y="185"/>
                      </a:lnTo>
                      <a:lnTo>
                        <a:pt x="1192" y="182"/>
                      </a:lnTo>
                      <a:lnTo>
                        <a:pt x="1201" y="182"/>
                      </a:lnTo>
                      <a:lnTo>
                        <a:pt x="1209" y="182"/>
                      </a:lnTo>
                      <a:lnTo>
                        <a:pt x="1211" y="182"/>
                      </a:lnTo>
                      <a:lnTo>
                        <a:pt x="1216" y="178"/>
                      </a:lnTo>
                      <a:lnTo>
                        <a:pt x="1220" y="166"/>
                      </a:lnTo>
                      <a:lnTo>
                        <a:pt x="1220" y="163"/>
                      </a:lnTo>
                      <a:lnTo>
                        <a:pt x="1223" y="161"/>
                      </a:lnTo>
                      <a:lnTo>
                        <a:pt x="1225" y="161"/>
                      </a:lnTo>
                      <a:lnTo>
                        <a:pt x="1225" y="159"/>
                      </a:lnTo>
                      <a:lnTo>
                        <a:pt x="1225" y="154"/>
                      </a:lnTo>
                      <a:lnTo>
                        <a:pt x="1225" y="152"/>
                      </a:lnTo>
                      <a:lnTo>
                        <a:pt x="1227" y="137"/>
                      </a:lnTo>
                      <a:lnTo>
                        <a:pt x="1230" y="123"/>
                      </a:lnTo>
                      <a:lnTo>
                        <a:pt x="1230" y="118"/>
                      </a:lnTo>
                      <a:lnTo>
                        <a:pt x="1246" y="97"/>
                      </a:lnTo>
                      <a:lnTo>
                        <a:pt x="1251" y="92"/>
                      </a:lnTo>
                      <a:lnTo>
                        <a:pt x="1270" y="83"/>
                      </a:lnTo>
                      <a:lnTo>
                        <a:pt x="1289" y="76"/>
                      </a:lnTo>
                      <a:lnTo>
                        <a:pt x="1301" y="78"/>
                      </a:lnTo>
                      <a:lnTo>
                        <a:pt x="1310" y="81"/>
                      </a:lnTo>
                      <a:lnTo>
                        <a:pt x="1317" y="81"/>
                      </a:lnTo>
                      <a:lnTo>
                        <a:pt x="1327" y="69"/>
                      </a:lnTo>
                      <a:lnTo>
                        <a:pt x="1327" y="69"/>
                      </a:lnTo>
                      <a:lnTo>
                        <a:pt x="1329" y="66"/>
                      </a:lnTo>
                      <a:lnTo>
                        <a:pt x="1332" y="64"/>
                      </a:lnTo>
                      <a:lnTo>
                        <a:pt x="1334" y="62"/>
                      </a:lnTo>
                      <a:lnTo>
                        <a:pt x="1339" y="62"/>
                      </a:lnTo>
                      <a:lnTo>
                        <a:pt x="1341" y="64"/>
                      </a:lnTo>
                      <a:lnTo>
                        <a:pt x="1343" y="64"/>
                      </a:lnTo>
                      <a:lnTo>
                        <a:pt x="1343" y="66"/>
                      </a:lnTo>
                      <a:lnTo>
                        <a:pt x="1346" y="69"/>
                      </a:lnTo>
                      <a:lnTo>
                        <a:pt x="1351" y="69"/>
                      </a:lnTo>
                      <a:lnTo>
                        <a:pt x="1353" y="66"/>
                      </a:lnTo>
                      <a:lnTo>
                        <a:pt x="1355" y="64"/>
                      </a:lnTo>
                      <a:lnTo>
                        <a:pt x="1355" y="64"/>
                      </a:lnTo>
                      <a:lnTo>
                        <a:pt x="1355" y="64"/>
                      </a:lnTo>
                      <a:lnTo>
                        <a:pt x="1355" y="64"/>
                      </a:lnTo>
                      <a:lnTo>
                        <a:pt x="1362" y="62"/>
                      </a:lnTo>
                      <a:lnTo>
                        <a:pt x="1369" y="59"/>
                      </a:lnTo>
                      <a:lnTo>
                        <a:pt x="1384" y="62"/>
                      </a:lnTo>
                      <a:lnTo>
                        <a:pt x="1384" y="62"/>
                      </a:lnTo>
                      <a:lnTo>
                        <a:pt x="1386" y="62"/>
                      </a:lnTo>
                      <a:lnTo>
                        <a:pt x="1386" y="62"/>
                      </a:lnTo>
                      <a:lnTo>
                        <a:pt x="1388" y="59"/>
                      </a:lnTo>
                      <a:lnTo>
                        <a:pt x="1395" y="59"/>
                      </a:lnTo>
                      <a:lnTo>
                        <a:pt x="1405" y="66"/>
                      </a:lnTo>
                      <a:lnTo>
                        <a:pt x="1410" y="66"/>
                      </a:lnTo>
                      <a:lnTo>
                        <a:pt x="1414" y="66"/>
                      </a:lnTo>
                      <a:lnTo>
                        <a:pt x="1419" y="59"/>
                      </a:lnTo>
                      <a:lnTo>
                        <a:pt x="1422" y="57"/>
                      </a:lnTo>
                      <a:lnTo>
                        <a:pt x="1433" y="52"/>
                      </a:lnTo>
                      <a:lnTo>
                        <a:pt x="1443" y="45"/>
                      </a:lnTo>
                      <a:lnTo>
                        <a:pt x="1455" y="36"/>
                      </a:lnTo>
                      <a:lnTo>
                        <a:pt x="1466" y="28"/>
                      </a:lnTo>
                      <a:lnTo>
                        <a:pt x="1485" y="26"/>
                      </a:lnTo>
                      <a:lnTo>
                        <a:pt x="1511" y="5"/>
                      </a:lnTo>
                      <a:lnTo>
                        <a:pt x="1530" y="0"/>
                      </a:lnTo>
                      <a:lnTo>
                        <a:pt x="1537" y="0"/>
                      </a:lnTo>
                      <a:lnTo>
                        <a:pt x="1540" y="12"/>
                      </a:lnTo>
                      <a:lnTo>
                        <a:pt x="1535" y="21"/>
                      </a:lnTo>
                      <a:lnTo>
                        <a:pt x="1519" y="33"/>
                      </a:lnTo>
                      <a:lnTo>
                        <a:pt x="1516" y="40"/>
                      </a:lnTo>
                      <a:lnTo>
                        <a:pt x="1519" y="45"/>
                      </a:lnTo>
                      <a:lnTo>
                        <a:pt x="1521" y="50"/>
                      </a:lnTo>
                      <a:moveTo>
                        <a:pt x="1805" y="1330"/>
                      </a:moveTo>
                      <a:lnTo>
                        <a:pt x="1805" y="1330"/>
                      </a:lnTo>
                      <a:lnTo>
                        <a:pt x="1817" y="1334"/>
                      </a:lnTo>
                      <a:lnTo>
                        <a:pt x="1824" y="1330"/>
                      </a:lnTo>
                      <a:lnTo>
                        <a:pt x="1828" y="1320"/>
                      </a:lnTo>
                      <a:lnTo>
                        <a:pt x="1828" y="1320"/>
                      </a:lnTo>
                      <a:lnTo>
                        <a:pt x="1828" y="1318"/>
                      </a:lnTo>
                      <a:lnTo>
                        <a:pt x="1828" y="1318"/>
                      </a:lnTo>
                      <a:lnTo>
                        <a:pt x="1828" y="1316"/>
                      </a:lnTo>
                      <a:lnTo>
                        <a:pt x="1831" y="1311"/>
                      </a:lnTo>
                      <a:lnTo>
                        <a:pt x="1831" y="1304"/>
                      </a:lnTo>
                      <a:lnTo>
                        <a:pt x="1828" y="1297"/>
                      </a:lnTo>
                      <a:lnTo>
                        <a:pt x="1826" y="1292"/>
                      </a:lnTo>
                      <a:lnTo>
                        <a:pt x="1817" y="1297"/>
                      </a:lnTo>
                      <a:lnTo>
                        <a:pt x="1807" y="1301"/>
                      </a:lnTo>
                      <a:lnTo>
                        <a:pt x="1802" y="1311"/>
                      </a:lnTo>
                      <a:lnTo>
                        <a:pt x="1800" y="1323"/>
                      </a:lnTo>
                      <a:lnTo>
                        <a:pt x="1805" y="1330"/>
                      </a:lnTo>
                      <a:moveTo>
                        <a:pt x="1940" y="2177"/>
                      </a:moveTo>
                      <a:lnTo>
                        <a:pt x="1940" y="2177"/>
                      </a:lnTo>
                      <a:lnTo>
                        <a:pt x="1940" y="2177"/>
                      </a:lnTo>
                      <a:lnTo>
                        <a:pt x="1944" y="2177"/>
                      </a:lnTo>
                      <a:lnTo>
                        <a:pt x="1942" y="2174"/>
                      </a:lnTo>
                      <a:lnTo>
                        <a:pt x="1940" y="2174"/>
                      </a:lnTo>
                      <a:lnTo>
                        <a:pt x="1940" y="2177"/>
                      </a:lnTo>
                    </a:path>
                  </a:pathLst>
                </a:custGeom>
                <a:noFill/>
                <a:ln w="6350" cap="rnd">
                  <a:solidFill>
                    <a:schemeClr val="bg1">
                      <a:lumMod val="65000"/>
                    </a:schemeClr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lIns="179211" tIns="89606" rIns="179211" bIns="89606"/>
                <a:lstStyle/>
                <a:p>
                  <a:pPr defTabSz="1219170" eaLnBrk="1" fontAlgn="auto" hangingPunct="1">
                    <a:lnSpc>
                      <a:spcPct val="8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4000" b="1">
                    <a:latin typeface="+mn-lt"/>
                  </a:endParaRPr>
                </a:p>
              </p:txBody>
            </p:sp>
          </p:grpSp>
          <p:sp>
            <p:nvSpPr>
              <p:cNvPr id="13" name="TextBox 4"/>
              <p:cNvSpPr txBox="1">
                <a:spLocks noChangeArrowheads="1"/>
              </p:cNvSpPr>
              <p:nvPr/>
            </p:nvSpPr>
            <p:spPr bwMode="auto">
              <a:xfrm>
                <a:off x="1407340" y="2583574"/>
                <a:ext cx="788988" cy="2062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Aft>
                    <a:spcPts val="200"/>
                  </a:spcAft>
                </a:pPr>
                <a:r>
                  <a:rPr lang="en-US" altLang="it-IT" sz="1100" b="1" dirty="0">
                    <a:latin typeface="Calibri" charset="0"/>
                    <a:ea typeface="Calibri" charset="0"/>
                    <a:cs typeface="Calibri" charset="0"/>
                  </a:rPr>
                  <a:t>MILANO</a:t>
                </a:r>
              </a:p>
            </p:txBody>
          </p:sp>
          <p:sp>
            <p:nvSpPr>
              <p:cNvPr id="14" name="TextBox 4"/>
              <p:cNvSpPr txBox="1">
                <a:spLocks noChangeArrowheads="1"/>
              </p:cNvSpPr>
              <p:nvPr/>
            </p:nvSpPr>
            <p:spPr bwMode="auto">
              <a:xfrm>
                <a:off x="1707588" y="3233541"/>
                <a:ext cx="704850" cy="2062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rIns="0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r" eaLnBrk="1" hangingPunct="1">
                  <a:spcAft>
                    <a:spcPts val="0"/>
                  </a:spcAft>
                </a:pPr>
                <a:r>
                  <a:rPr lang="en-US" altLang="it-IT" sz="1100" b="1" dirty="0">
                    <a:latin typeface="Calibri" charset="0"/>
                    <a:ea typeface="Calibri" charset="0"/>
                    <a:cs typeface="Calibri" charset="0"/>
                  </a:rPr>
                  <a:t>FIRENZE</a:t>
                </a:r>
              </a:p>
            </p:txBody>
          </p:sp>
          <p:sp>
            <p:nvSpPr>
              <p:cNvPr id="15" name="TextBox 4"/>
              <p:cNvSpPr txBox="1">
                <a:spLocks noChangeArrowheads="1"/>
              </p:cNvSpPr>
              <p:nvPr/>
            </p:nvSpPr>
            <p:spPr bwMode="auto">
              <a:xfrm>
                <a:off x="1980678" y="2796670"/>
                <a:ext cx="951436" cy="3397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en-US" altLang="it-IT" sz="1100" b="1" dirty="0" smtClean="0">
                    <a:latin typeface="Calibri" charset="0"/>
                    <a:ea typeface="Calibri" charset="0"/>
                    <a:cs typeface="Calibri" charset="0"/>
                  </a:rPr>
                  <a:t>REGGIO EMILIA</a:t>
                </a:r>
              </a:p>
              <a:p>
                <a:pPr eaLnBrk="1" hangingPunct="1"/>
                <a:r>
                  <a:rPr lang="en-US" altLang="it-IT" sz="1100" b="1" dirty="0" smtClean="0">
                    <a:latin typeface="Calibri" charset="0"/>
                    <a:ea typeface="Calibri" charset="0"/>
                    <a:cs typeface="Calibri" charset="0"/>
                  </a:rPr>
                  <a:t>BOLOGNA</a:t>
                </a:r>
                <a:endParaRPr lang="en-US" altLang="it-IT" sz="1100" b="1" dirty="0">
                  <a:latin typeface="Calibri" charset="0"/>
                  <a:ea typeface="Calibri" charset="0"/>
                  <a:cs typeface="Calibri" charset="0"/>
                </a:endParaRPr>
              </a:p>
            </p:txBody>
          </p:sp>
          <p:sp>
            <p:nvSpPr>
              <p:cNvPr id="16" name="TextBox 4"/>
              <p:cNvSpPr txBox="1">
                <a:spLocks noChangeArrowheads="1"/>
              </p:cNvSpPr>
              <p:nvPr/>
            </p:nvSpPr>
            <p:spPr bwMode="auto">
              <a:xfrm>
                <a:off x="2411414" y="3787429"/>
                <a:ext cx="788987" cy="2062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1217613" fontAlgn="base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Aft>
                    <a:spcPts val="200"/>
                  </a:spcAft>
                </a:pPr>
                <a:r>
                  <a:rPr lang="en-US" altLang="it-IT" sz="1100" b="1" dirty="0">
                    <a:latin typeface="Calibri" charset="0"/>
                    <a:ea typeface="Calibri" charset="0"/>
                    <a:cs typeface="Calibri" charset="0"/>
                  </a:rPr>
                  <a:t>ROMA</a:t>
                </a:r>
              </a:p>
            </p:txBody>
          </p:sp>
        </p:grpSp>
        <p:sp>
          <p:nvSpPr>
            <p:cNvPr id="51" name="TextBox 4"/>
            <p:cNvSpPr txBox="1">
              <a:spLocks noChangeArrowheads="1"/>
            </p:cNvSpPr>
            <p:nvPr/>
          </p:nvSpPr>
          <p:spPr bwMode="auto">
            <a:xfrm>
              <a:off x="3743916" y="3790419"/>
              <a:ext cx="1000594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2176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2176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2176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2176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ts val="200"/>
                </a:spcAft>
              </a:pPr>
              <a:r>
                <a:rPr lang="en-US" altLang="it-IT" sz="1100" b="1" dirty="0" smtClean="0">
                  <a:latin typeface="Calibri" charset="0"/>
                  <a:ea typeface="Calibri" charset="0"/>
                  <a:cs typeface="Calibri" charset="0"/>
                </a:rPr>
                <a:t>NAPOLI</a:t>
              </a:r>
              <a:endParaRPr lang="en-US" altLang="it-IT" sz="1100" b="1" dirty="0"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52" name="TextBox 4"/>
            <p:cNvSpPr txBox="1">
              <a:spLocks noChangeArrowheads="1"/>
            </p:cNvSpPr>
            <p:nvPr/>
          </p:nvSpPr>
          <p:spPr bwMode="auto">
            <a:xfrm>
              <a:off x="1164076" y="2232834"/>
              <a:ext cx="1000596" cy="2616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12176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12176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12176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1217613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Aft>
                  <a:spcPts val="200"/>
                </a:spcAft>
              </a:pPr>
              <a:r>
                <a:rPr lang="en-US" altLang="it-IT" sz="1100" b="1" dirty="0" smtClean="0">
                  <a:latin typeface="Calibri" charset="0"/>
                  <a:ea typeface="Calibri" charset="0"/>
                  <a:cs typeface="Calibri" charset="0"/>
                </a:rPr>
                <a:t>TORINO</a:t>
              </a:r>
              <a:endParaRPr lang="en-US" altLang="it-IT" sz="1100" b="1" dirty="0">
                <a:latin typeface="Calibri" charset="0"/>
                <a:ea typeface="Calibri" charset="0"/>
                <a:cs typeface="Calibri" charset="0"/>
              </a:endParaRPr>
            </a:p>
          </p:txBody>
        </p:sp>
        <p:sp>
          <p:nvSpPr>
            <p:cNvPr id="53" name="Ovale 52">
              <a:extLst>
                <a:ext uri="{FF2B5EF4-FFF2-40B4-BE49-F238E27FC236}">
                  <a16:creationId xmlns:a16="http://schemas.microsoft.com/office/drawing/2014/main" id="{C2B90EC9-57B2-48D8-8952-6B8306A6A3CF}"/>
                </a:ext>
              </a:extLst>
            </p:cNvPr>
            <p:cNvSpPr/>
            <p:nvPr/>
          </p:nvSpPr>
          <p:spPr>
            <a:xfrm>
              <a:off x="1588708" y="1921633"/>
              <a:ext cx="177168" cy="17716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/>
            </a:p>
          </p:txBody>
        </p:sp>
        <p:sp>
          <p:nvSpPr>
            <p:cNvPr id="54" name="Ovale 53">
              <a:extLst>
                <a:ext uri="{FF2B5EF4-FFF2-40B4-BE49-F238E27FC236}">
                  <a16:creationId xmlns:a16="http://schemas.microsoft.com/office/drawing/2014/main" id="{C2B90EC9-57B2-48D8-8952-6B8306A6A3CF}"/>
                </a:ext>
              </a:extLst>
            </p:cNvPr>
            <p:cNvSpPr/>
            <p:nvPr/>
          </p:nvSpPr>
          <p:spPr>
            <a:xfrm>
              <a:off x="1046215" y="2267564"/>
              <a:ext cx="177168" cy="17716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/>
            </a:p>
          </p:txBody>
        </p:sp>
        <p:sp>
          <p:nvSpPr>
            <p:cNvPr id="55" name="Ovale 54">
              <a:extLst>
                <a:ext uri="{FF2B5EF4-FFF2-40B4-BE49-F238E27FC236}">
                  <a16:creationId xmlns:a16="http://schemas.microsoft.com/office/drawing/2014/main" id="{C2B90EC9-57B2-48D8-8952-6B8306A6A3CF}"/>
                </a:ext>
              </a:extLst>
            </p:cNvPr>
            <p:cNvSpPr/>
            <p:nvPr/>
          </p:nvSpPr>
          <p:spPr>
            <a:xfrm>
              <a:off x="2341829" y="2317933"/>
              <a:ext cx="177168" cy="17716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/>
            </a:p>
          </p:txBody>
        </p:sp>
        <p:sp>
          <p:nvSpPr>
            <p:cNvPr id="56" name="Ovale 55">
              <a:extLst>
                <a:ext uri="{FF2B5EF4-FFF2-40B4-BE49-F238E27FC236}">
                  <a16:creationId xmlns:a16="http://schemas.microsoft.com/office/drawing/2014/main" id="{C2B90EC9-57B2-48D8-8952-6B8306A6A3CF}"/>
                </a:ext>
              </a:extLst>
            </p:cNvPr>
            <p:cNvSpPr/>
            <p:nvPr/>
          </p:nvSpPr>
          <p:spPr>
            <a:xfrm>
              <a:off x="3604998" y="3833179"/>
              <a:ext cx="177168" cy="17716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/>
            </a:p>
          </p:txBody>
        </p:sp>
        <p:sp>
          <p:nvSpPr>
            <p:cNvPr id="57" name="Ovale 56">
              <a:extLst>
                <a:ext uri="{FF2B5EF4-FFF2-40B4-BE49-F238E27FC236}">
                  <a16:creationId xmlns:a16="http://schemas.microsoft.com/office/drawing/2014/main" id="{C2B90EC9-57B2-48D8-8952-6B8306A6A3CF}"/>
                </a:ext>
              </a:extLst>
            </p:cNvPr>
            <p:cNvSpPr/>
            <p:nvPr/>
          </p:nvSpPr>
          <p:spPr>
            <a:xfrm>
              <a:off x="2859863" y="3470035"/>
              <a:ext cx="177168" cy="17716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/>
            </a:p>
          </p:txBody>
        </p:sp>
        <p:sp>
          <p:nvSpPr>
            <p:cNvPr id="112" name="Ovale 111">
              <a:extLst>
                <a:ext uri="{FF2B5EF4-FFF2-40B4-BE49-F238E27FC236}">
                  <a16:creationId xmlns:a16="http://schemas.microsoft.com/office/drawing/2014/main" id="{C2B90EC9-57B2-48D8-8952-6B8306A6A3CF}"/>
                </a:ext>
              </a:extLst>
            </p:cNvPr>
            <p:cNvSpPr/>
            <p:nvPr/>
          </p:nvSpPr>
          <p:spPr>
            <a:xfrm>
              <a:off x="2301596" y="2759784"/>
              <a:ext cx="177168" cy="17716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/>
            </a:p>
          </p:txBody>
        </p:sp>
        <p:sp>
          <p:nvSpPr>
            <p:cNvPr id="113" name="Ovale 112">
              <a:extLst>
                <a:ext uri="{FF2B5EF4-FFF2-40B4-BE49-F238E27FC236}">
                  <a16:creationId xmlns:a16="http://schemas.microsoft.com/office/drawing/2014/main" id="{C2B90EC9-57B2-48D8-8952-6B8306A6A3CF}"/>
                </a:ext>
              </a:extLst>
            </p:cNvPr>
            <p:cNvSpPr/>
            <p:nvPr/>
          </p:nvSpPr>
          <p:spPr>
            <a:xfrm>
              <a:off x="2273602" y="2250016"/>
              <a:ext cx="177168" cy="17716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it-IT"/>
            </a:p>
          </p:txBody>
        </p:sp>
      </p:grpSp>
      <p:sp>
        <p:nvSpPr>
          <p:cNvPr id="62" name="Rettangolo 61"/>
          <p:cNvSpPr/>
          <p:nvPr/>
        </p:nvSpPr>
        <p:spPr>
          <a:xfrm>
            <a:off x="4422025" y="3595623"/>
            <a:ext cx="144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FR 9559</a:t>
            </a:r>
            <a:r>
              <a:rPr lang="it-IT" dirty="0"/>
              <a:t> </a:t>
            </a:r>
            <a:r>
              <a:rPr lang="it-IT" sz="1200" dirty="0"/>
              <a:t>(*)</a:t>
            </a:r>
          </a:p>
        </p:txBody>
      </p:sp>
      <p:sp>
        <p:nvSpPr>
          <p:cNvPr id="63" name="Rettangolo 62"/>
          <p:cNvSpPr/>
          <p:nvPr/>
        </p:nvSpPr>
        <p:spPr>
          <a:xfrm>
            <a:off x="4422025" y="4099886"/>
            <a:ext cx="1440000" cy="360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 smtClean="0"/>
              <a:t>FR 9515</a:t>
            </a:r>
            <a:endParaRPr lang="it-IT" dirty="0"/>
          </a:p>
        </p:txBody>
      </p:sp>
      <p:graphicFrame>
        <p:nvGraphicFramePr>
          <p:cNvPr id="70" name="Tabella 6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0908514"/>
              </p:ext>
            </p:extLst>
          </p:nvPr>
        </p:nvGraphicFramePr>
        <p:xfrm>
          <a:off x="5814773" y="2561738"/>
          <a:ext cx="5677980" cy="252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90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49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11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71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3565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83857"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origine</a:t>
                      </a:r>
                      <a:endParaRPr lang="it-IT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h</a:t>
                      </a:r>
                      <a:r>
                        <a:rPr lang="it-IT" sz="1200" baseline="0" dirty="0" smtClean="0"/>
                        <a:t> partenza</a:t>
                      </a:r>
                      <a:endParaRPr lang="it-IT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destinazione</a:t>
                      </a:r>
                      <a:endParaRPr lang="it-IT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h arrivo</a:t>
                      </a:r>
                      <a:endParaRPr lang="it-IT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altre fermate</a:t>
                      </a:r>
                      <a:endParaRPr lang="it-IT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4212">
                <a:tc>
                  <a:txBody>
                    <a:bodyPr/>
                    <a:lstStyle/>
                    <a:p>
                      <a:r>
                        <a:rPr lang="it-IT" sz="1200" dirty="0" smtClean="0"/>
                        <a:t>Napoli </a:t>
                      </a:r>
                      <a:r>
                        <a:rPr lang="it-IT" sz="1200" dirty="0" err="1" smtClean="0"/>
                        <a:t>C.le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5:45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dirty="0" smtClean="0"/>
                        <a:t>Torino P.N.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13:45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it-IT" sz="1050" dirty="0" smtClean="0"/>
                        <a:t>Roma T.ni</a:t>
                      </a:r>
                    </a:p>
                    <a:p>
                      <a:pPr algn="ctr"/>
                      <a:r>
                        <a:rPr lang="it-IT" sz="1050" dirty="0" smtClean="0"/>
                        <a:t>Firenze SMN</a:t>
                      </a:r>
                    </a:p>
                    <a:p>
                      <a:pPr algn="ctr"/>
                      <a:r>
                        <a:rPr lang="it-IT" sz="1050" dirty="0" smtClean="0"/>
                        <a:t>Bologna </a:t>
                      </a:r>
                      <a:r>
                        <a:rPr lang="it-IT" sz="1050" dirty="0" err="1" smtClean="0"/>
                        <a:t>C.le</a:t>
                      </a:r>
                      <a:endParaRPr lang="it-IT" sz="1050" dirty="0" smtClean="0"/>
                    </a:p>
                    <a:p>
                      <a:pPr algn="ctr"/>
                      <a:r>
                        <a:rPr lang="it-IT" sz="1050" dirty="0" smtClean="0"/>
                        <a:t>Reggio Emilia AV MP</a:t>
                      </a:r>
                    </a:p>
                    <a:p>
                      <a:pPr algn="ctr"/>
                      <a:r>
                        <a:rPr lang="it-IT" sz="1050" dirty="0" smtClean="0"/>
                        <a:t>Milano </a:t>
                      </a:r>
                      <a:r>
                        <a:rPr lang="it-IT" sz="1050" dirty="0" err="1" smtClean="0"/>
                        <a:t>C.le</a:t>
                      </a:r>
                      <a:endParaRPr lang="it-IT" sz="1050" dirty="0" smtClean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9632">
                <a:tc>
                  <a:txBody>
                    <a:bodyPr/>
                    <a:lstStyle/>
                    <a:p>
                      <a:r>
                        <a:rPr lang="it-IT" sz="1200" dirty="0" smtClean="0"/>
                        <a:t>Torino P.N.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16:20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 smtClean="0"/>
                        <a:t>Napoli </a:t>
                      </a:r>
                      <a:r>
                        <a:rPr lang="it-IT" sz="1200" dirty="0" err="1" smtClean="0"/>
                        <a:t>C.le</a:t>
                      </a:r>
                      <a:endParaRPr lang="it-IT" sz="1200" dirty="0" smtClean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0.09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3926">
                <a:tc>
                  <a:txBody>
                    <a:bodyPr/>
                    <a:lstStyle/>
                    <a:p>
                      <a:r>
                        <a:rPr lang="it-IT" sz="1200" dirty="0" smtClean="0"/>
                        <a:t>Milano </a:t>
                      </a:r>
                      <a:r>
                        <a:rPr lang="it-IT" sz="1200" dirty="0" err="1" smtClean="0"/>
                        <a:t>C.le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smtClean="0"/>
                        <a:t>7:10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200" dirty="0" smtClean="0"/>
                        <a:t>Napoli </a:t>
                      </a:r>
                      <a:r>
                        <a:rPr lang="it-IT" sz="1200" dirty="0" err="1" smtClean="0"/>
                        <a:t>C.le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13:06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it-IT" sz="1050" dirty="0" smtClean="0"/>
                        <a:t>Reggio Emilia AV MP</a:t>
                      </a:r>
                    </a:p>
                    <a:p>
                      <a:pPr algn="ctr"/>
                      <a:r>
                        <a:rPr lang="it-IT" sz="1050" dirty="0" smtClean="0"/>
                        <a:t>Bologna </a:t>
                      </a:r>
                      <a:r>
                        <a:rPr lang="it-IT" sz="1050" dirty="0" err="1" smtClean="0"/>
                        <a:t>C.le</a:t>
                      </a:r>
                      <a:endParaRPr lang="it-IT" sz="1050" dirty="0" smtClean="0"/>
                    </a:p>
                    <a:p>
                      <a:pPr algn="ctr"/>
                      <a:r>
                        <a:rPr lang="it-IT" sz="1050" dirty="0" smtClean="0"/>
                        <a:t>Firenze</a:t>
                      </a:r>
                      <a:r>
                        <a:rPr lang="it-IT" sz="1050" baseline="0" dirty="0" smtClean="0"/>
                        <a:t> SMN</a:t>
                      </a:r>
                    </a:p>
                    <a:p>
                      <a:pPr algn="ctr"/>
                      <a:r>
                        <a:rPr lang="it-IT" sz="1050" baseline="0" dirty="0" smtClean="0"/>
                        <a:t>Roma T.ni</a:t>
                      </a:r>
                      <a:endParaRPr lang="it-IT" sz="1050" dirty="0" smtClean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83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 smtClean="0"/>
                        <a:t>Napoli </a:t>
                      </a:r>
                      <a:r>
                        <a:rPr lang="it-IT" sz="1200" dirty="0" err="1" smtClean="0"/>
                        <a:t>C.le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16:40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 smtClean="0"/>
                        <a:t>Milano </a:t>
                      </a:r>
                      <a:r>
                        <a:rPr lang="it-IT" sz="1200" dirty="0" err="1" smtClean="0"/>
                        <a:t>C.le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200" dirty="0" smtClean="0"/>
                        <a:t>22:45</a:t>
                      </a:r>
                      <a:endParaRPr lang="it-IT" sz="1200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it-IT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16" name="Rettangolo 115"/>
          <p:cNvSpPr/>
          <p:nvPr/>
        </p:nvSpPr>
        <p:spPr>
          <a:xfrm>
            <a:off x="6710984" y="6354804"/>
            <a:ext cx="4862951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0" algn="r">
              <a:spcBef>
                <a:spcPts val="0"/>
              </a:spcBef>
              <a:spcAft>
                <a:spcPts val="0"/>
              </a:spcAft>
            </a:pPr>
            <a:r>
              <a:rPr lang="it-IT" sz="900" dirty="0">
                <a:solidFill>
                  <a:srgbClr val="000000"/>
                </a:solidFill>
              </a:rPr>
              <a:t>Per maggiori informazioni, vi preghiamo di visionare l’informativa aggiornata sul sito:</a:t>
            </a:r>
          </a:p>
          <a:p>
            <a:pPr indent="0" algn="r">
              <a:spcBef>
                <a:spcPts val="0"/>
              </a:spcBef>
              <a:spcAft>
                <a:spcPts val="0"/>
              </a:spcAft>
            </a:pPr>
            <a:r>
              <a:rPr lang="it-IT" sz="1000" u="sng" dirty="0">
                <a:solidFill>
                  <a:srgbClr val="0563C1"/>
                </a:solidFill>
                <a:hlinkClick r:id="rId3"/>
              </a:rPr>
              <a:t>https://www.trenitalia.com/it/informazioni/Infomobilita/notizie-infomobilita.html.html</a:t>
            </a:r>
            <a:endParaRPr lang="it-IT" sz="1000" dirty="0">
              <a:solidFill>
                <a:srgbClr val="000000"/>
              </a:solidFill>
            </a:endParaRPr>
          </a:p>
        </p:txBody>
      </p:sp>
      <p:cxnSp>
        <p:nvCxnSpPr>
          <p:cNvPr id="118" name="Connettore 2 117"/>
          <p:cNvCxnSpPr/>
          <p:nvPr/>
        </p:nvCxnSpPr>
        <p:spPr>
          <a:xfrm flipH="1">
            <a:off x="9957096" y="3106662"/>
            <a:ext cx="1699" cy="84959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nettore 2 122"/>
          <p:cNvCxnSpPr/>
          <p:nvPr/>
        </p:nvCxnSpPr>
        <p:spPr>
          <a:xfrm rot="10800000" flipH="1">
            <a:off x="10016116" y="3102612"/>
            <a:ext cx="1699" cy="84959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Connettore 2 123"/>
          <p:cNvCxnSpPr/>
          <p:nvPr/>
        </p:nvCxnSpPr>
        <p:spPr>
          <a:xfrm flipH="1">
            <a:off x="9957096" y="4170020"/>
            <a:ext cx="1699" cy="84959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Connettore 2 124"/>
          <p:cNvCxnSpPr/>
          <p:nvPr/>
        </p:nvCxnSpPr>
        <p:spPr>
          <a:xfrm rot="10800000" flipH="1">
            <a:off x="10016116" y="4165970"/>
            <a:ext cx="1699" cy="84959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7587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YwTN4lmR57WfTygg3x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sYBbk7l83sWxU7qaGZzw"/>
</p:tagLst>
</file>

<file path=ppt/theme/theme1.xml><?xml version="1.0" encoding="utf-8"?>
<a:theme xmlns:a="http://schemas.openxmlformats.org/drawingml/2006/main" name="Cover 1 - Proiezion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00"/>
        </a:solidFill>
      </a:spPr>
      <a:bodyPr rtlCol="0" anchor="ctr"/>
      <a:lstStyle>
        <a:defPPr algn="ctr">
          <a:defRPr sz="12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Cover 1 - Proiezion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1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37</TotalTime>
  <Words>117</Words>
  <Application>Microsoft Office PowerPoint</Application>
  <PresentationFormat>Widescreen</PresentationFormat>
  <Paragraphs>47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2</vt:i4>
      </vt:variant>
      <vt:variant>
        <vt:lpstr>Tema</vt:lpstr>
      </vt:variant>
      <vt:variant>
        <vt:i4>6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10" baseType="lpstr">
      <vt:lpstr>Arial</vt:lpstr>
      <vt:lpstr>Calibri</vt:lpstr>
      <vt:lpstr>Cover 1 - Proiezione</vt:lpstr>
      <vt:lpstr>Master Presentazione FSI</vt:lpstr>
      <vt:lpstr>1_Master Presentazione FSI</vt:lpstr>
      <vt:lpstr>3_Master Presentazione FSI</vt:lpstr>
      <vt:lpstr>2_Cover 1 - Proiezione</vt:lpstr>
      <vt:lpstr>41_Master Presentazione FSI</vt:lpstr>
      <vt:lpstr>Diapositiva think-cell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#Ripartiamo Piano Commerciale Integrato</dc:title>
  <dc:creator>GRAZIOSI ROBERTA</dc:creator>
  <cp:lastModifiedBy>VITALE NICOLETTA</cp:lastModifiedBy>
  <cp:revision>186</cp:revision>
  <dcterms:created xsi:type="dcterms:W3CDTF">2020-03-17T15:53:27Z</dcterms:created>
  <dcterms:modified xsi:type="dcterms:W3CDTF">2020-04-30T15:09:47Z</dcterms:modified>
</cp:coreProperties>
</file>